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50" r:id="rId5"/>
    <p:sldMasterId id="2147483652" r:id="rId6"/>
    <p:sldMasterId id="2147483656" r:id="rId7"/>
  </p:sldMasterIdLst>
  <p:notesMasterIdLst>
    <p:notesMasterId r:id="rId29"/>
  </p:notesMasterIdLst>
  <p:sldIdLst>
    <p:sldId id="256" r:id="rId8"/>
    <p:sldId id="339" r:id="rId9"/>
    <p:sldId id="353" r:id="rId10"/>
    <p:sldId id="354" r:id="rId11"/>
    <p:sldId id="352" r:id="rId12"/>
    <p:sldId id="357" r:id="rId13"/>
    <p:sldId id="356" r:id="rId14"/>
    <p:sldId id="355" r:id="rId15"/>
    <p:sldId id="350" r:id="rId16"/>
    <p:sldId id="351" r:id="rId17"/>
    <p:sldId id="359" r:id="rId18"/>
    <p:sldId id="358" r:id="rId19"/>
    <p:sldId id="278" r:id="rId20"/>
    <p:sldId id="324" r:id="rId21"/>
    <p:sldId id="263" r:id="rId22"/>
    <p:sldId id="274" r:id="rId23"/>
    <p:sldId id="259" r:id="rId24"/>
    <p:sldId id="262" r:id="rId25"/>
    <p:sldId id="281" r:id="rId26"/>
    <p:sldId id="349" r:id="rId27"/>
    <p:sldId id="261" r:id="rId28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1248D1B-A47A-B7C1-24D9-7127110DF0D0}" name="Guest User" initials="GU" userId="S::urn:spo:anon#5c1cd7b39cb30a75ca1cea0fb2ba435992d6c6a6b484349a9ca7505025227c67::" providerId="AD"/>
  <p188:author id="{F1E6144C-14BA-4EF9-61ED-859BA2598D84}" name="Frances Meek" initials="FM" userId="S::F.Meek@nutrition.org.uk::f3af35cc-3229-46e1-af36-3525661cfbd3" providerId="AD"/>
  <p188:author id="{7ECFBFCA-DD88-6422-7FAF-B5B8619DEB83}" name="Ewen Trafford" initials="EPT" userId="Ewen Trafford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es Meek" initials="FM" lastIdx="2" clrIdx="0">
    <p:extLst>
      <p:ext uri="{19B8F6BF-5375-455C-9EA6-DF929625EA0E}">
        <p15:presenceInfo xmlns:p15="http://schemas.microsoft.com/office/powerpoint/2012/main" userId="S::F.Meek@nutrition.org.uk::f3af35cc-3229-46e1-af36-3525661cfbd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9F3F"/>
    <a:srgbClr val="FCC241"/>
    <a:srgbClr val="D98F1A"/>
    <a:srgbClr val="FCE3C2"/>
    <a:srgbClr val="F9D4B6"/>
    <a:srgbClr val="EDAD80"/>
    <a:srgbClr val="E46B2F"/>
    <a:srgbClr val="ED6B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530F7EE-B032-4987-98E2-037134168CB7}" v="39" dt="2022-09-22T13:55:46.68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68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viewProps" Target="view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microsoft.com/office/2016/11/relationships/changesInfo" Target="changesInfos/changesInfo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est User" userId="S::urn:spo:anon#5c1cd7b39cb30a75ca1cea0fb2ba435992d6c6a6b484349a9ca7505025227c67::" providerId="AD" clId="Web-{C50870E9-6EF1-03AB-CB1D-15364C36965A}"/>
    <pc:docChg chg="addSld delSld modSld sldOrd">
      <pc:chgData name="Guest User" userId="S::urn:spo:anon#5c1cd7b39cb30a75ca1cea0fb2ba435992d6c6a6b484349a9ca7505025227c67::" providerId="AD" clId="Web-{C50870E9-6EF1-03AB-CB1D-15364C36965A}" dt="2022-05-24T13:31:43.176" v="1598" actId="14100"/>
      <pc:docMkLst>
        <pc:docMk/>
      </pc:docMkLst>
      <pc:sldChg chg="modSp delCm modCm">
        <pc:chgData name="Guest User" userId="S::urn:spo:anon#5c1cd7b39cb30a75ca1cea0fb2ba435992d6c6a6b484349a9ca7505025227c67::" providerId="AD" clId="Web-{C50870E9-6EF1-03AB-CB1D-15364C36965A}" dt="2022-05-24T13:31:17.722" v="1596"/>
        <pc:sldMkLst>
          <pc:docMk/>
          <pc:sldMk cId="3993973292" sldId="274"/>
        </pc:sldMkLst>
        <pc:spChg chg="mod">
          <ac:chgData name="Guest User" userId="S::urn:spo:anon#5c1cd7b39cb30a75ca1cea0fb2ba435992d6c6a6b484349a9ca7505025227c67::" providerId="AD" clId="Web-{C50870E9-6EF1-03AB-CB1D-15364C36965A}" dt="2022-05-24T09:34:19.103" v="436" actId="20577"/>
          <ac:spMkLst>
            <pc:docMk/>
            <pc:sldMk cId="3993973292" sldId="274"/>
            <ac:spMk id="2" creationId="{00000000-0000-0000-0000-000000000000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09:39:23.437" v="559" actId="20577"/>
          <ac:spMkLst>
            <pc:docMk/>
            <pc:sldMk cId="3993973292" sldId="274"/>
            <ac:spMk id="3" creationId="{00000000-0000-0000-0000-000000000000}"/>
          </ac:spMkLst>
        </pc:spChg>
      </pc:sldChg>
      <pc:sldChg chg="modSp">
        <pc:chgData name="Guest User" userId="S::urn:spo:anon#5c1cd7b39cb30a75ca1cea0fb2ba435992d6c6a6b484349a9ca7505025227c67::" providerId="AD" clId="Web-{C50870E9-6EF1-03AB-CB1D-15364C36965A}" dt="2022-05-24T10:59:09.767" v="1184" actId="20577"/>
        <pc:sldMkLst>
          <pc:docMk/>
          <pc:sldMk cId="3137792006" sldId="277"/>
        </pc:sldMkLst>
        <pc:spChg chg="mod">
          <ac:chgData name="Guest User" userId="S::urn:spo:anon#5c1cd7b39cb30a75ca1cea0fb2ba435992d6c6a6b484349a9ca7505025227c67::" providerId="AD" clId="Web-{C50870E9-6EF1-03AB-CB1D-15364C36965A}" dt="2022-05-24T10:59:09.767" v="1184" actId="20577"/>
          <ac:spMkLst>
            <pc:docMk/>
            <pc:sldMk cId="3137792006" sldId="277"/>
            <ac:spMk id="3" creationId="{00000000-0000-0000-0000-000000000000}"/>
          </ac:spMkLst>
        </pc:spChg>
      </pc:sldChg>
      <pc:sldChg chg="addSp delSp modSp addCm">
        <pc:chgData name="Guest User" userId="S::urn:spo:anon#5c1cd7b39cb30a75ca1cea0fb2ba435992d6c6a6b484349a9ca7505025227c67::" providerId="AD" clId="Web-{C50870E9-6EF1-03AB-CB1D-15364C36965A}" dt="2022-05-24T09:16:34.441" v="307" actId="20577"/>
        <pc:sldMkLst>
          <pc:docMk/>
          <pc:sldMk cId="1351839580" sldId="294"/>
        </pc:sldMkLst>
        <pc:spChg chg="mod">
          <ac:chgData name="Guest User" userId="S::urn:spo:anon#5c1cd7b39cb30a75ca1cea0fb2ba435992d6c6a6b484349a9ca7505025227c67::" providerId="AD" clId="Web-{C50870E9-6EF1-03AB-CB1D-15364C36965A}" dt="2022-05-24T08:58:51.248" v="152" actId="20577"/>
          <ac:spMkLst>
            <pc:docMk/>
            <pc:sldMk cId="1351839580" sldId="294"/>
            <ac:spMk id="2" creationId="{00000000-0000-0000-0000-000000000000}"/>
          </ac:spMkLst>
        </pc:spChg>
        <pc:spChg chg="add mod">
          <ac:chgData name="Guest User" userId="S::urn:spo:anon#5c1cd7b39cb30a75ca1cea0fb2ba435992d6c6a6b484349a9ca7505025227c67::" providerId="AD" clId="Web-{C50870E9-6EF1-03AB-CB1D-15364C36965A}" dt="2022-05-24T09:13:11.796" v="277" actId="1076"/>
          <ac:spMkLst>
            <pc:docMk/>
            <pc:sldMk cId="1351839580" sldId="294"/>
            <ac:spMk id="3" creationId="{CDDA6D2C-3FB8-7389-0564-F3A1F0EE7142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09:16:34.441" v="307" actId="20577"/>
          <ac:spMkLst>
            <pc:docMk/>
            <pc:sldMk cId="1351839580" sldId="294"/>
            <ac:spMk id="7" creationId="{9F5610B5-B857-41E6-8A9E-1F8B928123A4}"/>
          </ac:spMkLst>
        </pc:spChg>
        <pc:spChg chg="del">
          <ac:chgData name="Guest User" userId="S::urn:spo:anon#5c1cd7b39cb30a75ca1cea0fb2ba435992d6c6a6b484349a9ca7505025227c67::" providerId="AD" clId="Web-{C50870E9-6EF1-03AB-CB1D-15364C36965A}" dt="2022-05-24T08:59:53.327" v="154"/>
          <ac:spMkLst>
            <pc:docMk/>
            <pc:sldMk cId="1351839580" sldId="294"/>
            <ac:spMk id="9" creationId="{0E22F708-6B73-49F0-B8C3-FF211A0897A3}"/>
          </ac:spMkLst>
        </pc:spChg>
        <pc:picChg chg="del">
          <ac:chgData name="Guest User" userId="S::urn:spo:anon#5c1cd7b39cb30a75ca1cea0fb2ba435992d6c6a6b484349a9ca7505025227c67::" providerId="AD" clId="Web-{C50870E9-6EF1-03AB-CB1D-15364C36965A}" dt="2022-05-24T08:59:50.671" v="153"/>
          <ac:picMkLst>
            <pc:docMk/>
            <pc:sldMk cId="1351839580" sldId="294"/>
            <ac:picMk id="8" creationId="{16D46C16-92A3-45F0-B70B-CECED0C8A5DB}"/>
          </ac:picMkLst>
        </pc:picChg>
      </pc:sldChg>
      <pc:sldChg chg="modSp delCm">
        <pc:chgData name="Guest User" userId="S::urn:spo:anon#5c1cd7b39cb30a75ca1cea0fb2ba435992d6c6a6b484349a9ca7505025227c67::" providerId="AD" clId="Web-{C50870E9-6EF1-03AB-CB1D-15364C36965A}" dt="2022-05-24T11:35:57.327" v="1485"/>
        <pc:sldMkLst>
          <pc:docMk/>
          <pc:sldMk cId="2939916080" sldId="299"/>
        </pc:sldMkLst>
        <pc:spChg chg="mod">
          <ac:chgData name="Guest User" userId="S::urn:spo:anon#5c1cd7b39cb30a75ca1cea0fb2ba435992d6c6a6b484349a9ca7505025227c67::" providerId="AD" clId="Web-{C50870E9-6EF1-03AB-CB1D-15364C36965A}" dt="2022-05-24T11:35:52.561" v="1484" actId="20577"/>
          <ac:spMkLst>
            <pc:docMk/>
            <pc:sldMk cId="2939916080" sldId="299"/>
            <ac:spMk id="3" creationId="{00000000-0000-0000-0000-000000000000}"/>
          </ac:spMkLst>
        </pc:spChg>
      </pc:sldChg>
      <pc:sldChg chg="del">
        <pc:chgData name="Guest User" userId="S::urn:spo:anon#5c1cd7b39cb30a75ca1cea0fb2ba435992d6c6a6b484349a9ca7505025227c67::" providerId="AD" clId="Web-{C50870E9-6EF1-03AB-CB1D-15364C36965A}" dt="2022-05-24T11:33:28.855" v="1462"/>
        <pc:sldMkLst>
          <pc:docMk/>
          <pc:sldMk cId="3911799715" sldId="300"/>
        </pc:sldMkLst>
      </pc:sldChg>
      <pc:sldChg chg="modSp">
        <pc:chgData name="Guest User" userId="S::urn:spo:anon#5c1cd7b39cb30a75ca1cea0fb2ba435992d6c6a6b484349a9ca7505025227c67::" providerId="AD" clId="Web-{C50870E9-6EF1-03AB-CB1D-15364C36965A}" dt="2022-05-24T09:27:30.063" v="383" actId="20577"/>
        <pc:sldMkLst>
          <pc:docMk/>
          <pc:sldMk cId="4146092675" sldId="301"/>
        </pc:sldMkLst>
        <pc:spChg chg="mod">
          <ac:chgData name="Guest User" userId="S::urn:spo:anon#5c1cd7b39cb30a75ca1cea0fb2ba435992d6c6a6b484349a9ca7505025227c67::" providerId="AD" clId="Web-{C50870E9-6EF1-03AB-CB1D-15364C36965A}" dt="2022-05-24T09:27:30.063" v="383" actId="20577"/>
          <ac:spMkLst>
            <pc:docMk/>
            <pc:sldMk cId="4146092675" sldId="301"/>
            <ac:spMk id="2" creationId="{ECB39143-43DB-404B-999A-68A64BABF4DE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09:27:17.751" v="381" actId="20577"/>
          <ac:spMkLst>
            <pc:docMk/>
            <pc:sldMk cId="4146092675" sldId="301"/>
            <ac:spMk id="4" creationId="{AD0D0778-949E-4414-BC9B-77E033DFFAA2}"/>
          </ac:spMkLst>
        </pc:spChg>
      </pc:sldChg>
      <pc:sldChg chg="modSp">
        <pc:chgData name="Guest User" userId="S::urn:spo:anon#5c1cd7b39cb30a75ca1cea0fb2ba435992d6c6a6b484349a9ca7505025227c67::" providerId="AD" clId="Web-{C50870E9-6EF1-03AB-CB1D-15364C36965A}" dt="2022-05-24T09:41:11.143" v="562" actId="20577"/>
        <pc:sldMkLst>
          <pc:docMk/>
          <pc:sldMk cId="1274149409" sldId="302"/>
        </pc:sldMkLst>
        <pc:spChg chg="mod">
          <ac:chgData name="Guest User" userId="S::urn:spo:anon#5c1cd7b39cb30a75ca1cea0fb2ba435992d6c6a6b484349a9ca7505025227c67::" providerId="AD" clId="Web-{C50870E9-6EF1-03AB-CB1D-15364C36965A}" dt="2022-05-24T09:41:11.143" v="562" actId="20577"/>
          <ac:spMkLst>
            <pc:docMk/>
            <pc:sldMk cId="1274149409" sldId="302"/>
            <ac:spMk id="3" creationId="{00000000-0000-0000-0000-000000000000}"/>
          </ac:spMkLst>
        </pc:spChg>
      </pc:sldChg>
      <pc:sldChg chg="modSp">
        <pc:chgData name="Guest User" userId="S::urn:spo:anon#5c1cd7b39cb30a75ca1cea0fb2ba435992d6c6a6b484349a9ca7505025227c67::" providerId="AD" clId="Web-{C50870E9-6EF1-03AB-CB1D-15364C36965A}" dt="2022-05-24T10:28:08.449" v="1150" actId="20577"/>
        <pc:sldMkLst>
          <pc:docMk/>
          <pc:sldMk cId="1875858968" sldId="303"/>
        </pc:sldMkLst>
        <pc:spChg chg="mod">
          <ac:chgData name="Guest User" userId="S::urn:spo:anon#5c1cd7b39cb30a75ca1cea0fb2ba435992d6c6a6b484349a9ca7505025227c67::" providerId="AD" clId="Web-{C50870E9-6EF1-03AB-CB1D-15364C36965A}" dt="2022-05-24T10:28:08.449" v="1150" actId="20577"/>
          <ac:spMkLst>
            <pc:docMk/>
            <pc:sldMk cId="1875858968" sldId="303"/>
            <ac:spMk id="3" creationId="{00000000-0000-0000-0000-000000000000}"/>
          </ac:spMkLst>
        </pc:spChg>
      </pc:sldChg>
      <pc:sldChg chg="modSp modNotes">
        <pc:chgData name="Guest User" userId="S::urn:spo:anon#5c1cd7b39cb30a75ca1cea0fb2ba435992d6c6a6b484349a9ca7505025227c67::" providerId="AD" clId="Web-{C50870E9-6EF1-03AB-CB1D-15364C36965A}" dt="2022-05-24T11:55:01.803" v="1587" actId="20577"/>
        <pc:sldMkLst>
          <pc:docMk/>
          <pc:sldMk cId="681281634" sldId="304"/>
        </pc:sldMkLst>
        <pc:spChg chg="mod">
          <ac:chgData name="Guest User" userId="S::urn:spo:anon#5c1cd7b39cb30a75ca1cea0fb2ba435992d6c6a6b484349a9ca7505025227c67::" providerId="AD" clId="Web-{C50870E9-6EF1-03AB-CB1D-15364C36965A}" dt="2022-05-24T11:55:01.803" v="1587" actId="20577"/>
          <ac:spMkLst>
            <pc:docMk/>
            <pc:sldMk cId="681281634" sldId="304"/>
            <ac:spMk id="3" creationId="{00000000-0000-0000-0000-000000000000}"/>
          </ac:spMkLst>
        </pc:spChg>
      </pc:sldChg>
      <pc:sldChg chg="modSp">
        <pc:chgData name="Guest User" userId="S::urn:spo:anon#5c1cd7b39cb30a75ca1cea0fb2ba435992d6c6a6b484349a9ca7505025227c67::" providerId="AD" clId="Web-{C50870E9-6EF1-03AB-CB1D-15364C36965A}" dt="2022-05-24T10:18:55.578" v="978" actId="20577"/>
        <pc:sldMkLst>
          <pc:docMk/>
          <pc:sldMk cId="1245899220" sldId="305"/>
        </pc:sldMkLst>
        <pc:spChg chg="mod">
          <ac:chgData name="Guest User" userId="S::urn:spo:anon#5c1cd7b39cb30a75ca1cea0fb2ba435992d6c6a6b484349a9ca7505025227c67::" providerId="AD" clId="Web-{C50870E9-6EF1-03AB-CB1D-15364C36965A}" dt="2022-05-24T10:18:55.578" v="978" actId="20577"/>
          <ac:spMkLst>
            <pc:docMk/>
            <pc:sldMk cId="1245899220" sldId="305"/>
            <ac:spMk id="3" creationId="{00000000-0000-0000-0000-000000000000}"/>
          </ac:spMkLst>
        </pc:spChg>
        <pc:picChg chg="mod">
          <ac:chgData name="Guest User" userId="S::urn:spo:anon#5c1cd7b39cb30a75ca1cea0fb2ba435992d6c6a6b484349a9ca7505025227c67::" providerId="AD" clId="Web-{C50870E9-6EF1-03AB-CB1D-15364C36965A}" dt="2022-05-24T09:50:37.185" v="672" actId="1076"/>
          <ac:picMkLst>
            <pc:docMk/>
            <pc:sldMk cId="1245899220" sldId="305"/>
            <ac:picMk id="9" creationId="{6B2C2443-1A77-46BF-B2F8-964EF726DF1E}"/>
          </ac:picMkLst>
        </pc:picChg>
      </pc:sldChg>
      <pc:sldChg chg="modSp">
        <pc:chgData name="Guest User" userId="S::urn:spo:anon#5c1cd7b39cb30a75ca1cea0fb2ba435992d6c6a6b484349a9ca7505025227c67::" providerId="AD" clId="Web-{C50870E9-6EF1-03AB-CB1D-15364C36965A}" dt="2022-05-24T10:01:30.667" v="791" actId="20577"/>
        <pc:sldMkLst>
          <pc:docMk/>
          <pc:sldMk cId="2779867094" sldId="306"/>
        </pc:sldMkLst>
        <pc:spChg chg="mod">
          <ac:chgData name="Guest User" userId="S::urn:spo:anon#5c1cd7b39cb30a75ca1cea0fb2ba435992d6c6a6b484349a9ca7505025227c67::" providerId="AD" clId="Web-{C50870E9-6EF1-03AB-CB1D-15364C36965A}" dt="2022-05-24T10:01:30.667" v="791" actId="20577"/>
          <ac:spMkLst>
            <pc:docMk/>
            <pc:sldMk cId="2779867094" sldId="306"/>
            <ac:spMk id="3" creationId="{00000000-0000-0000-0000-000000000000}"/>
          </ac:spMkLst>
        </pc:spChg>
      </pc:sldChg>
      <pc:sldChg chg="modSp">
        <pc:chgData name="Guest User" userId="S::urn:spo:anon#5c1cd7b39cb30a75ca1cea0fb2ba435992d6c6a6b484349a9ca7505025227c67::" providerId="AD" clId="Web-{C50870E9-6EF1-03AB-CB1D-15364C36965A}" dt="2022-05-24T09:17:54.849" v="310" actId="20577"/>
        <pc:sldMkLst>
          <pc:docMk/>
          <pc:sldMk cId="639185947" sldId="307"/>
        </pc:sldMkLst>
        <pc:spChg chg="mod">
          <ac:chgData name="Guest User" userId="S::urn:spo:anon#5c1cd7b39cb30a75ca1cea0fb2ba435992d6c6a6b484349a9ca7505025227c67::" providerId="AD" clId="Web-{C50870E9-6EF1-03AB-CB1D-15364C36965A}" dt="2022-05-24T09:17:54.849" v="310" actId="20577"/>
          <ac:spMkLst>
            <pc:docMk/>
            <pc:sldMk cId="639185947" sldId="307"/>
            <ac:spMk id="4" creationId="{DDDB30AC-431A-410C-94CB-E2E50716CA4B}"/>
          </ac:spMkLst>
        </pc:spChg>
      </pc:sldChg>
      <pc:sldChg chg="addSp modSp addCm">
        <pc:chgData name="Guest User" userId="S::urn:spo:anon#5c1cd7b39cb30a75ca1cea0fb2ba435992d6c6a6b484349a9ca7505025227c67::" providerId="AD" clId="Web-{C50870E9-6EF1-03AB-CB1D-15364C36965A}" dt="2022-05-24T13:31:43.176" v="1598" actId="14100"/>
        <pc:sldMkLst>
          <pc:docMk/>
          <pc:sldMk cId="3979226011" sldId="308"/>
        </pc:sldMkLst>
        <pc:spChg chg="mod">
          <ac:chgData name="Guest User" userId="S::urn:spo:anon#5c1cd7b39cb30a75ca1cea0fb2ba435992d6c6a6b484349a9ca7505025227c67::" providerId="AD" clId="Web-{C50870E9-6EF1-03AB-CB1D-15364C36965A}" dt="2022-05-24T11:27:16.910" v="1392" actId="20577"/>
          <ac:spMkLst>
            <pc:docMk/>
            <pc:sldMk cId="3979226011" sldId="308"/>
            <ac:spMk id="4" creationId="{31D1D560-E2D2-4E0C-981E-4F1AB853B238}"/>
          </ac:spMkLst>
        </pc:spChg>
        <pc:spChg chg="add mod">
          <ac:chgData name="Guest User" userId="S::urn:spo:anon#5c1cd7b39cb30a75ca1cea0fb2ba435992d6c6a6b484349a9ca7505025227c67::" providerId="AD" clId="Web-{C50870E9-6EF1-03AB-CB1D-15364C36965A}" dt="2022-05-24T11:31:00.930" v="1412" actId="1076"/>
          <ac:spMkLst>
            <pc:docMk/>
            <pc:sldMk cId="3979226011" sldId="308"/>
            <ac:spMk id="8" creationId="{0F2489E1-C2AE-3ABA-965B-5CA4D65EFE76}"/>
          </ac:spMkLst>
        </pc:spChg>
        <pc:picChg chg="add mod modCrop">
          <ac:chgData name="Guest User" userId="S::urn:spo:anon#5c1cd7b39cb30a75ca1cea0fb2ba435992d6c6a6b484349a9ca7505025227c67::" providerId="AD" clId="Web-{C50870E9-6EF1-03AB-CB1D-15364C36965A}" dt="2022-05-24T11:31:13.509" v="1416" actId="1076"/>
          <ac:picMkLst>
            <pc:docMk/>
            <pc:sldMk cId="3979226011" sldId="308"/>
            <ac:picMk id="3" creationId="{36B241DE-A7A3-2915-85B7-D8CA62B51D54}"/>
          </ac:picMkLst>
        </pc:picChg>
        <pc:picChg chg="mod">
          <ac:chgData name="Guest User" userId="S::urn:spo:anon#5c1cd7b39cb30a75ca1cea0fb2ba435992d6c6a6b484349a9ca7505025227c67::" providerId="AD" clId="Web-{C50870E9-6EF1-03AB-CB1D-15364C36965A}" dt="2022-05-24T11:29:45.366" v="1395" actId="1076"/>
          <ac:picMkLst>
            <pc:docMk/>
            <pc:sldMk cId="3979226011" sldId="308"/>
            <ac:picMk id="5" creationId="{9F319B15-F7C6-4A47-9199-60BCC6831A22}"/>
          </ac:picMkLst>
        </pc:picChg>
        <pc:picChg chg="mod">
          <ac:chgData name="Guest User" userId="S::urn:spo:anon#5c1cd7b39cb30a75ca1cea0fb2ba435992d6c6a6b484349a9ca7505025227c67::" providerId="AD" clId="Web-{C50870E9-6EF1-03AB-CB1D-15364C36965A}" dt="2022-05-24T11:30:31.164" v="1406" actId="1076"/>
          <ac:picMkLst>
            <pc:docMk/>
            <pc:sldMk cId="3979226011" sldId="308"/>
            <ac:picMk id="6" creationId="{B003AB75-540C-419A-A73D-D842D8C487DD}"/>
          </ac:picMkLst>
        </pc:picChg>
        <pc:picChg chg="mod">
          <ac:chgData name="Guest User" userId="S::urn:spo:anon#5c1cd7b39cb30a75ca1cea0fb2ba435992d6c6a6b484349a9ca7505025227c67::" providerId="AD" clId="Web-{C50870E9-6EF1-03AB-CB1D-15364C36965A}" dt="2022-05-24T13:31:40.051" v="1597" actId="14100"/>
          <ac:picMkLst>
            <pc:docMk/>
            <pc:sldMk cId="3979226011" sldId="308"/>
            <ac:picMk id="9" creationId="{4D8FF41C-D09E-454C-ADD3-C636F509A25D}"/>
          </ac:picMkLst>
        </pc:picChg>
        <pc:picChg chg="mod">
          <ac:chgData name="Guest User" userId="S::urn:spo:anon#5c1cd7b39cb30a75ca1cea0fb2ba435992d6c6a6b484349a9ca7505025227c67::" providerId="AD" clId="Web-{C50870E9-6EF1-03AB-CB1D-15364C36965A}" dt="2022-05-24T13:31:43.176" v="1598" actId="14100"/>
          <ac:picMkLst>
            <pc:docMk/>
            <pc:sldMk cId="3979226011" sldId="308"/>
            <ac:picMk id="12" creationId="{66F4C863-84B1-C42A-380F-A3318D212C25}"/>
          </ac:picMkLst>
        </pc:picChg>
        <pc:picChg chg="mod">
          <ac:chgData name="Guest User" userId="S::urn:spo:anon#5c1cd7b39cb30a75ca1cea0fb2ba435992d6c6a6b484349a9ca7505025227c67::" providerId="AD" clId="Web-{C50870E9-6EF1-03AB-CB1D-15364C36965A}" dt="2022-05-24T11:30:29.789" v="1405" actId="1076"/>
          <ac:picMkLst>
            <pc:docMk/>
            <pc:sldMk cId="3979226011" sldId="308"/>
            <ac:picMk id="13" creationId="{C98459B9-D101-4824-BC52-A966CF3EC9B6}"/>
          </ac:picMkLst>
        </pc:picChg>
      </pc:sldChg>
      <pc:sldChg chg="modSp delCm">
        <pc:chgData name="Guest User" userId="S::urn:spo:anon#5c1cd7b39cb30a75ca1cea0fb2ba435992d6c6a6b484349a9ca7505025227c67::" providerId="AD" clId="Web-{C50870E9-6EF1-03AB-CB1D-15364C36965A}" dt="2022-05-24T11:50:22.422" v="1583" actId="20577"/>
        <pc:sldMkLst>
          <pc:docMk/>
          <pc:sldMk cId="3209739012" sldId="310"/>
        </pc:sldMkLst>
        <pc:spChg chg="mod">
          <ac:chgData name="Guest User" userId="S::urn:spo:anon#5c1cd7b39cb30a75ca1cea0fb2ba435992d6c6a6b484349a9ca7505025227c67::" providerId="AD" clId="Web-{C50870E9-6EF1-03AB-CB1D-15364C36965A}" dt="2022-05-24T11:50:22.422" v="1583" actId="20577"/>
          <ac:spMkLst>
            <pc:docMk/>
            <pc:sldMk cId="3209739012" sldId="310"/>
            <ac:spMk id="8" creationId="{EC2AA5D8-F8D8-4242-8DAC-9758B8843027}"/>
          </ac:spMkLst>
        </pc:spChg>
      </pc:sldChg>
      <pc:sldChg chg="modSp ord">
        <pc:chgData name="Guest User" userId="S::urn:spo:anon#5c1cd7b39cb30a75ca1cea0fb2ba435992d6c6a6b484349a9ca7505025227c67::" providerId="AD" clId="Web-{C50870E9-6EF1-03AB-CB1D-15364C36965A}" dt="2022-05-24T11:52:15.393" v="1585" actId="20577"/>
        <pc:sldMkLst>
          <pc:docMk/>
          <pc:sldMk cId="1959855485" sldId="311"/>
        </pc:sldMkLst>
        <pc:spChg chg="mod">
          <ac:chgData name="Guest User" userId="S::urn:spo:anon#5c1cd7b39cb30a75ca1cea0fb2ba435992d6c6a6b484349a9ca7505025227c67::" providerId="AD" clId="Web-{C50870E9-6EF1-03AB-CB1D-15364C36965A}" dt="2022-05-24T11:52:15.393" v="1585" actId="20577"/>
          <ac:spMkLst>
            <pc:docMk/>
            <pc:sldMk cId="1959855485" sldId="311"/>
            <ac:spMk id="2" creationId="{ECB39143-43DB-404B-999A-68A64BABF4DE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08:56:41.573" v="145" actId="20577"/>
          <ac:spMkLst>
            <pc:docMk/>
            <pc:sldMk cId="1959855485" sldId="311"/>
            <ac:spMk id="4" creationId="{C5AED35D-F009-4C6C-BE74-11E7A80DDC36}"/>
          </ac:spMkLst>
        </pc:spChg>
      </pc:sldChg>
      <pc:sldChg chg="modSp">
        <pc:chgData name="Guest User" userId="S::urn:spo:anon#5c1cd7b39cb30a75ca1cea0fb2ba435992d6c6a6b484349a9ca7505025227c67::" providerId="AD" clId="Web-{C50870E9-6EF1-03AB-CB1D-15364C36965A}" dt="2022-05-24T09:53:43.501" v="717" actId="20577"/>
        <pc:sldMkLst>
          <pc:docMk/>
          <pc:sldMk cId="2124743312" sldId="312"/>
        </pc:sldMkLst>
        <pc:spChg chg="mod">
          <ac:chgData name="Guest User" userId="S::urn:spo:anon#5c1cd7b39cb30a75ca1cea0fb2ba435992d6c6a6b484349a9ca7505025227c67::" providerId="AD" clId="Web-{C50870E9-6EF1-03AB-CB1D-15364C36965A}" dt="2022-05-24T09:53:43.501" v="717" actId="20577"/>
          <ac:spMkLst>
            <pc:docMk/>
            <pc:sldMk cId="2124743312" sldId="312"/>
            <ac:spMk id="3" creationId="{00000000-0000-0000-0000-000000000000}"/>
          </ac:spMkLst>
        </pc:spChg>
      </pc:sldChg>
      <pc:sldChg chg="modSp new del">
        <pc:chgData name="Guest User" userId="S::urn:spo:anon#5c1cd7b39cb30a75ca1cea0fb2ba435992d6c6a6b484349a9ca7505025227c67::" providerId="AD" clId="Web-{C50870E9-6EF1-03AB-CB1D-15364C36965A}" dt="2022-05-24T10:24:44.132" v="1126"/>
        <pc:sldMkLst>
          <pc:docMk/>
          <pc:sldMk cId="3348619241" sldId="313"/>
        </pc:sldMkLst>
        <pc:spChg chg="mod">
          <ac:chgData name="Guest User" userId="S::urn:spo:anon#5c1cd7b39cb30a75ca1cea0fb2ba435992d6c6a6b484349a9ca7505025227c67::" providerId="AD" clId="Web-{C50870E9-6EF1-03AB-CB1D-15364C36965A}" dt="2022-05-24T09:19:00.881" v="313" actId="20577"/>
          <ac:spMkLst>
            <pc:docMk/>
            <pc:sldMk cId="3348619241" sldId="313"/>
            <ac:spMk id="2" creationId="{E4108760-61B1-6D83-B896-D35F6178FD51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09:19:30.366" v="316" actId="1076"/>
          <ac:spMkLst>
            <pc:docMk/>
            <pc:sldMk cId="3348619241" sldId="313"/>
            <ac:spMk id="3" creationId="{34BFEDE4-5593-47D9-B158-541BB964D8C6}"/>
          </ac:spMkLst>
        </pc:spChg>
      </pc:sldChg>
      <pc:sldChg chg="modSp new del">
        <pc:chgData name="Guest User" userId="S::urn:spo:anon#5c1cd7b39cb30a75ca1cea0fb2ba435992d6c6a6b484349a9ca7505025227c67::" providerId="AD" clId="Web-{C50870E9-6EF1-03AB-CB1D-15364C36965A}" dt="2022-05-24T09:32:44.507" v="422"/>
        <pc:sldMkLst>
          <pc:docMk/>
          <pc:sldMk cId="77986337" sldId="314"/>
        </pc:sldMkLst>
        <pc:spChg chg="mod">
          <ac:chgData name="Guest User" userId="S::urn:spo:anon#5c1cd7b39cb30a75ca1cea0fb2ba435992d6c6a6b484349a9ca7505025227c67::" providerId="AD" clId="Web-{C50870E9-6EF1-03AB-CB1D-15364C36965A}" dt="2022-05-24T09:31:30.084" v="392" actId="20577"/>
          <ac:spMkLst>
            <pc:docMk/>
            <pc:sldMk cId="77986337" sldId="314"/>
            <ac:spMk id="2" creationId="{A63E54EA-3B7C-BFF5-3DBB-ECD08FA2D1BD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09:32:43.710" v="421" actId="20577"/>
          <ac:spMkLst>
            <pc:docMk/>
            <pc:sldMk cId="77986337" sldId="314"/>
            <ac:spMk id="3" creationId="{F412A8B4-D828-31DB-7776-36936F75A714}"/>
          </ac:spMkLst>
        </pc:spChg>
      </pc:sldChg>
      <pc:sldChg chg="addSp modSp new ord modNotes">
        <pc:chgData name="Guest User" userId="S::urn:spo:anon#5c1cd7b39cb30a75ca1cea0fb2ba435992d6c6a6b484349a9ca7505025227c67::" providerId="AD" clId="Web-{C50870E9-6EF1-03AB-CB1D-15364C36965A}" dt="2022-05-24T13:01:55.839" v="1595" actId="20577"/>
        <pc:sldMkLst>
          <pc:docMk/>
          <pc:sldMk cId="4248556420" sldId="314"/>
        </pc:sldMkLst>
        <pc:spChg chg="mod">
          <ac:chgData name="Guest User" userId="S::urn:spo:anon#5c1cd7b39cb30a75ca1cea0fb2ba435992d6c6a6b484349a9ca7505025227c67::" providerId="AD" clId="Web-{C50870E9-6EF1-03AB-CB1D-15364C36965A}" dt="2022-05-24T09:52:45.438" v="711" actId="20577"/>
          <ac:spMkLst>
            <pc:docMk/>
            <pc:sldMk cId="4248556420" sldId="314"/>
            <ac:spMk id="2" creationId="{7CBC127A-4017-88C6-42DC-76D9E11DCCA8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13:01:55.839" v="1595" actId="20577"/>
          <ac:spMkLst>
            <pc:docMk/>
            <pc:sldMk cId="4248556420" sldId="314"/>
            <ac:spMk id="3" creationId="{96959814-9071-EAE4-F7AC-76E25031DC00}"/>
          </ac:spMkLst>
        </pc:spChg>
        <pc:spChg chg="add mod">
          <ac:chgData name="Guest User" userId="S::urn:spo:anon#5c1cd7b39cb30a75ca1cea0fb2ba435992d6c6a6b484349a9ca7505025227c67::" providerId="AD" clId="Web-{C50870E9-6EF1-03AB-CB1D-15364C36965A}" dt="2022-05-24T10:19:48.720" v="1005"/>
          <ac:spMkLst>
            <pc:docMk/>
            <pc:sldMk cId="4248556420" sldId="314"/>
            <ac:spMk id="4" creationId="{70457893-B388-CA53-3E6E-105567370A9A}"/>
          </ac:spMkLst>
        </pc:spChg>
      </pc:sldChg>
      <pc:sldChg chg="modSp new">
        <pc:chgData name="Guest User" userId="S::urn:spo:anon#5c1cd7b39cb30a75ca1cea0fb2ba435992d6c6a6b484349a9ca7505025227c67::" providerId="AD" clId="Web-{C50870E9-6EF1-03AB-CB1D-15364C36965A}" dt="2022-05-24T10:56:59.421" v="1169" actId="14100"/>
        <pc:sldMkLst>
          <pc:docMk/>
          <pc:sldMk cId="1627569597" sldId="315"/>
        </pc:sldMkLst>
        <pc:spChg chg="mod">
          <ac:chgData name="Guest User" userId="S::urn:spo:anon#5c1cd7b39cb30a75ca1cea0fb2ba435992d6c6a6b484349a9ca7505025227c67::" providerId="AD" clId="Web-{C50870E9-6EF1-03AB-CB1D-15364C36965A}" dt="2022-05-24T10:02:20.465" v="794" actId="20577"/>
          <ac:spMkLst>
            <pc:docMk/>
            <pc:sldMk cId="1627569597" sldId="315"/>
            <ac:spMk id="2" creationId="{022ACFA0-76C8-1EA8-54EC-42708D9B9177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10:56:59.421" v="1169" actId="14100"/>
          <ac:spMkLst>
            <pc:docMk/>
            <pc:sldMk cId="1627569597" sldId="315"/>
            <ac:spMk id="3" creationId="{78101E67-B0F1-726C-7F13-95384EA7B94E}"/>
          </ac:spMkLst>
        </pc:spChg>
      </pc:sldChg>
      <pc:sldChg chg="addSp modSp new">
        <pc:chgData name="Guest User" userId="S::urn:spo:anon#5c1cd7b39cb30a75ca1cea0fb2ba435992d6c6a6b484349a9ca7505025227c67::" providerId="AD" clId="Web-{C50870E9-6EF1-03AB-CB1D-15364C36965A}" dt="2022-05-24T11:32:48.026" v="1461" actId="20577"/>
        <pc:sldMkLst>
          <pc:docMk/>
          <pc:sldMk cId="813545271" sldId="316"/>
        </pc:sldMkLst>
        <pc:spChg chg="mod">
          <ac:chgData name="Guest User" userId="S::urn:spo:anon#5c1cd7b39cb30a75ca1cea0fb2ba435992d6c6a6b484349a9ca7505025227c67::" providerId="AD" clId="Web-{C50870E9-6EF1-03AB-CB1D-15364C36965A}" dt="2022-05-24T11:08:36.106" v="1206" actId="20577"/>
          <ac:spMkLst>
            <pc:docMk/>
            <pc:sldMk cId="813545271" sldId="316"/>
            <ac:spMk id="2" creationId="{95830DEE-4768-83D0-54D4-7D19C584700B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11:26:20.159" v="1391" actId="20577"/>
          <ac:spMkLst>
            <pc:docMk/>
            <pc:sldMk cId="813545271" sldId="316"/>
            <ac:spMk id="3" creationId="{88C80544-D972-5414-9AD8-744769A39182}"/>
          </ac:spMkLst>
        </pc:spChg>
        <pc:spChg chg="add mod">
          <ac:chgData name="Guest User" userId="S::urn:spo:anon#5c1cd7b39cb30a75ca1cea0fb2ba435992d6c6a6b484349a9ca7505025227c67::" providerId="AD" clId="Web-{C50870E9-6EF1-03AB-CB1D-15364C36965A}" dt="2022-05-24T11:32:48.026" v="1461" actId="20577"/>
          <ac:spMkLst>
            <pc:docMk/>
            <pc:sldMk cId="813545271" sldId="316"/>
            <ac:spMk id="4" creationId="{B951880E-2548-03FC-30F1-559F3B67733E}"/>
          </ac:spMkLst>
        </pc:spChg>
      </pc:sldChg>
      <pc:sldChg chg="modSp new">
        <pc:chgData name="Guest User" userId="S::urn:spo:anon#5c1cd7b39cb30a75ca1cea0fb2ba435992d6c6a6b484349a9ca7505025227c67::" providerId="AD" clId="Web-{C50870E9-6EF1-03AB-CB1D-15364C36965A}" dt="2022-05-24T11:47:07.699" v="1551" actId="20577"/>
        <pc:sldMkLst>
          <pc:docMk/>
          <pc:sldMk cId="1986818962" sldId="317"/>
        </pc:sldMkLst>
        <pc:spChg chg="mod">
          <ac:chgData name="Guest User" userId="S::urn:spo:anon#5c1cd7b39cb30a75ca1cea0fb2ba435992d6c6a6b484349a9ca7505025227c67::" providerId="AD" clId="Web-{C50870E9-6EF1-03AB-CB1D-15364C36965A}" dt="2022-05-24T11:34:39.622" v="1482" actId="20577"/>
          <ac:spMkLst>
            <pc:docMk/>
            <pc:sldMk cId="1986818962" sldId="317"/>
            <ac:spMk id="2" creationId="{0087FBAB-EC07-CF2D-1C34-B286203D1DEB}"/>
          </ac:spMkLst>
        </pc:spChg>
        <pc:spChg chg="mod">
          <ac:chgData name="Guest User" userId="S::urn:spo:anon#5c1cd7b39cb30a75ca1cea0fb2ba435992d6c6a6b484349a9ca7505025227c67::" providerId="AD" clId="Web-{C50870E9-6EF1-03AB-CB1D-15364C36965A}" dt="2022-05-24T11:47:07.699" v="1551" actId="20577"/>
          <ac:spMkLst>
            <pc:docMk/>
            <pc:sldMk cId="1986818962" sldId="317"/>
            <ac:spMk id="3" creationId="{F542AE94-456A-179B-63E4-5401D70ED4F9}"/>
          </ac:spMkLst>
        </pc:spChg>
      </pc:sldChg>
    </pc:docChg>
  </pc:docChgLst>
  <pc:docChgLst>
    <pc:chgData name="Ewen Trafford" userId="e520b4bf-a196-48b7-bc10-b1590a457daa" providerId="ADAL" clId="{9530F7EE-B032-4987-98E2-037134168CB7}"/>
    <pc:docChg chg="undo custSel addSld delSld modSld">
      <pc:chgData name="Ewen Trafford" userId="e520b4bf-a196-48b7-bc10-b1590a457daa" providerId="ADAL" clId="{9530F7EE-B032-4987-98E2-037134168CB7}" dt="2022-09-22T13:55:52.705" v="210" actId="1076"/>
      <pc:docMkLst>
        <pc:docMk/>
      </pc:docMkLst>
      <pc:sldChg chg="addSp delSp modSp mod">
        <pc:chgData name="Ewen Trafford" userId="e520b4bf-a196-48b7-bc10-b1590a457daa" providerId="ADAL" clId="{9530F7EE-B032-4987-98E2-037134168CB7}" dt="2022-09-22T13:53:48.319" v="195" actId="1036"/>
        <pc:sldMkLst>
          <pc:docMk/>
          <pc:sldMk cId="3216814926" sldId="262"/>
        </pc:sldMkLst>
        <pc:spChg chg="del">
          <ac:chgData name="Ewen Trafford" userId="e520b4bf-a196-48b7-bc10-b1590a457daa" providerId="ADAL" clId="{9530F7EE-B032-4987-98E2-037134168CB7}" dt="2022-09-22T13:52:16.604" v="122" actId="478"/>
          <ac:spMkLst>
            <pc:docMk/>
            <pc:sldMk cId="3216814926" sldId="262"/>
            <ac:spMk id="10" creationId="{E26C15E5-ED6A-5A4F-9D6B-17229083AC72}"/>
          </ac:spMkLst>
        </pc:spChg>
        <pc:spChg chg="del">
          <ac:chgData name="Ewen Trafford" userId="e520b4bf-a196-48b7-bc10-b1590a457daa" providerId="ADAL" clId="{9530F7EE-B032-4987-98E2-037134168CB7}" dt="2022-09-22T13:52:20.164" v="125" actId="478"/>
          <ac:spMkLst>
            <pc:docMk/>
            <pc:sldMk cId="3216814926" sldId="262"/>
            <ac:spMk id="11" creationId="{92AC09E6-4DE7-95DF-CFDD-B74FC5FA32EF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2" creationId="{CC405220-0E8A-D358-2B65-A58A8927A90D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3" creationId="{BA840B0C-15DF-72FA-429D-48D5431CB582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4" creationId="{5B7F14F0-15BF-4E15-40FB-11DAE9B6E412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5" creationId="{1F1817C6-5B19-204D-F28E-85C4FA26EF0A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6" creationId="{1948F4AD-CE2F-7E3A-4A88-36A9D4101502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7" creationId="{E88B03D6-D625-1F14-60F1-68B4E522EC96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8" creationId="{33591B4F-BC98-8D2F-BCF5-F1B07305B4D3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9" creationId="{5127CA96-5361-77A9-32A1-FF83FBFD3676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20" creationId="{FA826247-D7DF-0C17-5799-E21E99815BA3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21" creationId="{5A6BAC40-9B33-4B32-D570-2C36AF2225DE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22" creationId="{ED5233A6-C867-D150-9474-383FE6FA7811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23" creationId="{0CBC4428-9DB3-5284-FC33-1B65AFF6D617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24" creationId="{AF783F3B-2C8D-D725-3BB1-1D66A5D489EE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25" creationId="{375DE0D9-4DF5-D727-1714-85A3A324D64C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26" creationId="{E74D2D0D-8B1D-E54C-617E-65221FFBFEBC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27" creationId="{C5183DD2-0F21-A35A-DCEA-805773B1BA53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28" creationId="{6095DECE-2E92-2EBE-34B4-030F60CAC9E4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29" creationId="{56C150C6-8BDF-F120-9A96-055451BD4767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30" creationId="{50F6CC56-7D41-EAA9-77D5-1DC42356E391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31" creationId="{795B77BE-E003-92D8-2A3A-EE3ABAC058EC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24" creationId="{36BA7DAB-56AA-A7B5-A642-A37DA72DA0FF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25" creationId="{CD95E6B1-3A2F-41B0-BBAF-CE8D42FE01A6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27" creationId="{BEE42A1E-79E5-84E3-FB54-9781C6A7B043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28" creationId="{AD3F9955-F68C-9827-96ED-532F67AB0558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29" creationId="{EE06083C-8F13-F4F9-EF86-7533F71C2B5D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30" creationId="{B1EB8743-41F8-BBE8-694B-57A32C7A5A7F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31" creationId="{30D9E9E9-5F84-76BD-DBE6-01B668E70D17}"/>
          </ac:spMkLst>
        </pc:spChg>
        <pc:spChg chg="del">
          <ac:chgData name="Ewen Trafford" userId="e520b4bf-a196-48b7-bc10-b1590a457daa" providerId="ADAL" clId="{9530F7EE-B032-4987-98E2-037134168CB7}" dt="2022-09-22T13:52:17.005" v="123" actId="478"/>
          <ac:spMkLst>
            <pc:docMk/>
            <pc:sldMk cId="3216814926" sldId="262"/>
            <ac:spMk id="1032" creationId="{BC246BC5-B38B-846C-58C2-E76732E6469F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33" creationId="{45471970-E82E-1349-A271-46B8FDDB757F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34" creationId="{99EFF59D-1A61-85B7-5E25-2D8D3C821654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35" creationId="{890D8A36-6C34-8A60-01C4-D739B676BF30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36" creationId="{77D63661-FFC5-9E45-4744-A29970136C82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37" creationId="{A18F7948-7340-2AE5-EFC1-75C27CC0A601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38" creationId="{B14CA49A-1D6E-4044-CA65-272544DEBC22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39" creationId="{91DCCDF5-87EB-91F3-C2B5-B1DBEBF7D92E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40" creationId="{66A2F6A4-8D72-69BE-61D9-E590CF2724C8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41" creationId="{708E9476-0AEB-3035-AAF4-4DB9BCD9EB51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42" creationId="{F49DCD72-F054-714E-45CD-17250F234CF1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43" creationId="{AF92F4E6-A91B-E590-2D6C-FF849980AE83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44" creationId="{F09F76CD-EEFE-0132-6EAC-4DAD5914F9C0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45" creationId="{70172F8D-C774-7889-0AB1-4C4EB29D9333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46" creationId="{6446C590-17C4-77E7-20E9-DD7FE1435DB9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47" creationId="{EBDB7043-5EEA-5411-818C-6CB3B7FC7C8E}"/>
          </ac:spMkLst>
        </pc:spChg>
        <pc:spChg chg="del">
          <ac:chgData name="Ewen Trafford" userId="e520b4bf-a196-48b7-bc10-b1590a457daa" providerId="ADAL" clId="{9530F7EE-B032-4987-98E2-037134168CB7}" dt="2022-09-22T13:52:23.077" v="128" actId="478"/>
          <ac:spMkLst>
            <pc:docMk/>
            <pc:sldMk cId="3216814926" sldId="262"/>
            <ac:spMk id="1048" creationId="{D06ACB81-0267-85C7-E224-6EEE525C29D0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49" creationId="{F61AF745-6534-CC48-501F-79A942058DF1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50" creationId="{02951112-802B-BC38-E98E-79ADCA477D2A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51" creationId="{3F9ED606-891D-6A65-3DC3-B2DB1618D095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52" creationId="{384938EF-A36D-6A34-B0D6-DB823DB23DB0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53" creationId="{C0C62204-4489-7181-7F8F-EE591779278C}"/>
          </ac:spMkLst>
        </pc:spChg>
        <pc:spChg chg="del">
          <ac:chgData name="Ewen Trafford" userId="e520b4bf-a196-48b7-bc10-b1590a457daa" providerId="ADAL" clId="{9530F7EE-B032-4987-98E2-037134168CB7}" dt="2022-09-22T13:52:22.048" v="127" actId="478"/>
          <ac:spMkLst>
            <pc:docMk/>
            <pc:sldMk cId="3216814926" sldId="262"/>
            <ac:spMk id="1054" creationId="{F923BC37-F4D2-213E-0E71-E3A2064A7F36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55" creationId="{9F93CB6B-6723-E118-7195-F8FC9B3CECD9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56" creationId="{C9EF930A-DCF8-8CD3-B303-7A4AED27FD95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57" creationId="{0BBF8D54-9980-70B2-47A7-6EE7EB8672A6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58" creationId="{CF25D13F-07B2-C1AD-27C7-D18FF176BE37}"/>
          </ac:spMkLst>
        </pc:spChg>
        <pc:spChg chg="del">
          <ac:chgData name="Ewen Trafford" userId="e520b4bf-a196-48b7-bc10-b1590a457daa" providerId="ADAL" clId="{9530F7EE-B032-4987-98E2-037134168CB7}" dt="2022-09-22T13:52:21.332" v="126" actId="478"/>
          <ac:spMkLst>
            <pc:docMk/>
            <pc:sldMk cId="3216814926" sldId="262"/>
            <ac:spMk id="1059" creationId="{F33F08B3-F835-2C13-7622-DD41A270131F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60" creationId="{966503B7-E7CD-DC29-800F-6C2B5F40B3C9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61" creationId="{D8D32BC1-94DE-1A6E-C423-934F587EEA88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62" creationId="{A46E77DE-7131-35E5-683D-C38076B337CF}"/>
          </ac:spMkLst>
        </pc:spChg>
        <pc:spChg chg="del">
          <ac:chgData name="Ewen Trafford" userId="e520b4bf-a196-48b7-bc10-b1590a457daa" providerId="ADAL" clId="{9530F7EE-B032-4987-98E2-037134168CB7}" dt="2022-09-22T13:52:19.363" v="124" actId="478"/>
          <ac:spMkLst>
            <pc:docMk/>
            <pc:sldMk cId="3216814926" sldId="262"/>
            <ac:spMk id="1063" creationId="{CD5C3F88-7FDB-7209-CF64-F26D48B2ECD9}"/>
          </ac:spMkLst>
        </pc:spChg>
        <pc:spChg chg="mod">
          <ac:chgData name="Ewen Trafford" userId="e520b4bf-a196-48b7-bc10-b1590a457daa" providerId="ADAL" clId="{9530F7EE-B032-4987-98E2-037134168CB7}" dt="2022-09-22T13:53:23.150" v="147" actId="1076"/>
          <ac:spMkLst>
            <pc:docMk/>
            <pc:sldMk cId="3216814926" sldId="262"/>
            <ac:spMk id="1064" creationId="{56168A46-7AC3-8692-E00A-F82A16A51A88}"/>
          </ac:spMkLst>
        </pc:spChg>
        <pc:spChg chg="mod">
          <ac:chgData name="Ewen Trafford" userId="e520b4bf-a196-48b7-bc10-b1590a457daa" providerId="ADAL" clId="{9530F7EE-B032-4987-98E2-037134168CB7}" dt="2022-09-22T13:53:27.851" v="148" actId="1076"/>
          <ac:spMkLst>
            <pc:docMk/>
            <pc:sldMk cId="3216814926" sldId="262"/>
            <ac:spMk id="1065" creationId="{B5A67BE7-1DA9-F5AB-0BFC-9B8A5BF7CB21}"/>
          </ac:spMkLst>
        </pc:spChg>
        <pc:spChg chg="mod">
          <ac:chgData name="Ewen Trafford" userId="e520b4bf-a196-48b7-bc10-b1590a457daa" providerId="ADAL" clId="{9530F7EE-B032-4987-98E2-037134168CB7}" dt="2022-09-22T13:53:42.999" v="171" actId="1036"/>
          <ac:spMkLst>
            <pc:docMk/>
            <pc:sldMk cId="3216814926" sldId="262"/>
            <ac:spMk id="1066" creationId="{D3F056AC-67C0-5E30-09D3-9B25C1814048}"/>
          </ac:spMkLst>
        </pc:spChg>
        <pc:spChg chg="mod">
          <ac:chgData name="Ewen Trafford" userId="e520b4bf-a196-48b7-bc10-b1590a457daa" providerId="ADAL" clId="{9530F7EE-B032-4987-98E2-037134168CB7}" dt="2022-09-22T13:53:48.319" v="195" actId="1036"/>
          <ac:spMkLst>
            <pc:docMk/>
            <pc:sldMk cId="3216814926" sldId="262"/>
            <ac:spMk id="1067" creationId="{69803CA5-EA90-A1FB-F324-DA6D6B262B62}"/>
          </ac:spMkLst>
        </pc:spChg>
        <pc:picChg chg="add mod">
          <ac:chgData name="Ewen Trafford" userId="e520b4bf-a196-48b7-bc10-b1590a457daa" providerId="ADAL" clId="{9530F7EE-B032-4987-98E2-037134168CB7}" dt="2022-09-22T13:52:59.739" v="141" actId="1076"/>
          <ac:picMkLst>
            <pc:docMk/>
            <pc:sldMk cId="3216814926" sldId="262"/>
            <ac:picMk id="3" creationId="{A21460D1-B0ED-B2B9-21B4-00E7C99BFB90}"/>
          </ac:picMkLst>
        </pc:picChg>
        <pc:picChg chg="add mod">
          <ac:chgData name="Ewen Trafford" userId="e520b4bf-a196-48b7-bc10-b1590a457daa" providerId="ADAL" clId="{9530F7EE-B032-4987-98E2-037134168CB7}" dt="2022-09-22T13:53:21.140" v="146" actId="1076"/>
          <ac:picMkLst>
            <pc:docMk/>
            <pc:sldMk cId="3216814926" sldId="262"/>
            <ac:picMk id="4" creationId="{762477B5-2550-7564-63EA-4392BF532A0F}"/>
          </ac:picMkLst>
        </pc:picChg>
      </pc:sldChg>
      <pc:sldChg chg="modSp mod">
        <pc:chgData name="Ewen Trafford" userId="e520b4bf-a196-48b7-bc10-b1590a457daa" providerId="ADAL" clId="{9530F7EE-B032-4987-98E2-037134168CB7}" dt="2022-09-22T13:51:38.278" v="117" actId="20577"/>
        <pc:sldMkLst>
          <pc:docMk/>
          <pc:sldMk cId="2023944527" sldId="278"/>
        </pc:sldMkLst>
        <pc:spChg chg="mod">
          <ac:chgData name="Ewen Trafford" userId="e520b4bf-a196-48b7-bc10-b1590a457daa" providerId="ADAL" clId="{9530F7EE-B032-4987-98E2-037134168CB7}" dt="2022-09-22T13:51:38.278" v="117" actId="20577"/>
          <ac:spMkLst>
            <pc:docMk/>
            <pc:sldMk cId="2023944527" sldId="278"/>
            <ac:spMk id="5" creationId="{A87D90F2-48F3-BFD0-D9BD-CBEA7490881C}"/>
          </ac:spMkLst>
        </pc:spChg>
      </pc:sldChg>
      <pc:sldChg chg="addSp modSp mod">
        <pc:chgData name="Ewen Trafford" userId="e520b4bf-a196-48b7-bc10-b1590a457daa" providerId="ADAL" clId="{9530F7EE-B032-4987-98E2-037134168CB7}" dt="2022-09-22T13:54:18.031" v="202" actId="1076"/>
        <pc:sldMkLst>
          <pc:docMk/>
          <pc:sldMk cId="2745500333" sldId="281"/>
        </pc:sldMkLst>
        <pc:spChg chg="mod">
          <ac:chgData name="Ewen Trafford" userId="e520b4bf-a196-48b7-bc10-b1590a457daa" providerId="ADAL" clId="{9530F7EE-B032-4987-98E2-037134168CB7}" dt="2022-09-22T13:53:58.503" v="196" actId="14100"/>
          <ac:spMkLst>
            <pc:docMk/>
            <pc:sldMk cId="2745500333" sldId="281"/>
            <ac:spMk id="3" creationId="{00000000-0000-0000-0000-000000000000}"/>
          </ac:spMkLst>
        </pc:spChg>
        <pc:picChg chg="add mod">
          <ac:chgData name="Ewen Trafford" userId="e520b4bf-a196-48b7-bc10-b1590a457daa" providerId="ADAL" clId="{9530F7EE-B032-4987-98E2-037134168CB7}" dt="2022-09-22T13:54:18.031" v="202" actId="1076"/>
          <ac:picMkLst>
            <pc:docMk/>
            <pc:sldMk cId="2745500333" sldId="281"/>
            <ac:picMk id="4" creationId="{F2AF75F6-9FE4-D3F5-7DF7-AF267B59CB99}"/>
          </ac:picMkLst>
        </pc:picChg>
      </pc:sldChg>
      <pc:sldChg chg="modSp mod">
        <pc:chgData name="Ewen Trafford" userId="e520b4bf-a196-48b7-bc10-b1590a457daa" providerId="ADAL" clId="{9530F7EE-B032-4987-98E2-037134168CB7}" dt="2022-09-22T13:51:57.800" v="121" actId="1076"/>
        <pc:sldMkLst>
          <pc:docMk/>
          <pc:sldMk cId="2450036879" sldId="324"/>
        </pc:sldMkLst>
        <pc:graphicFrameChg chg="mod modGraphic">
          <ac:chgData name="Ewen Trafford" userId="e520b4bf-a196-48b7-bc10-b1590a457daa" providerId="ADAL" clId="{9530F7EE-B032-4987-98E2-037134168CB7}" dt="2022-09-22T13:51:57.800" v="121" actId="1076"/>
          <ac:graphicFrameMkLst>
            <pc:docMk/>
            <pc:sldMk cId="2450036879" sldId="324"/>
            <ac:graphicFrameMk id="7" creationId="{21663884-8A5D-DD9A-B4F0-E1EED248AA0D}"/>
          </ac:graphicFrameMkLst>
        </pc:graphicFrameChg>
      </pc:sldChg>
      <pc:sldChg chg="addSp delSp modSp mod">
        <pc:chgData name="Ewen Trafford" userId="e520b4bf-a196-48b7-bc10-b1590a457daa" providerId="ADAL" clId="{9530F7EE-B032-4987-98E2-037134168CB7}" dt="2022-09-22T13:38:42.084" v="6" actId="1076"/>
        <pc:sldMkLst>
          <pc:docMk/>
          <pc:sldMk cId="3253149672" sldId="339"/>
        </pc:sldMkLst>
        <pc:picChg chg="add mod">
          <ac:chgData name="Ewen Trafford" userId="e520b4bf-a196-48b7-bc10-b1590a457daa" providerId="ADAL" clId="{9530F7EE-B032-4987-98E2-037134168CB7}" dt="2022-09-22T13:38:42.084" v="6" actId="1076"/>
          <ac:picMkLst>
            <pc:docMk/>
            <pc:sldMk cId="3253149672" sldId="339"/>
            <ac:picMk id="4" creationId="{DB239939-3744-4B65-484F-48857D118DBF}"/>
          </ac:picMkLst>
        </pc:picChg>
        <pc:picChg chg="del">
          <ac:chgData name="Ewen Trafford" userId="e520b4bf-a196-48b7-bc10-b1590a457daa" providerId="ADAL" clId="{9530F7EE-B032-4987-98E2-037134168CB7}" dt="2022-09-22T13:38:08.507" v="0" actId="478"/>
          <ac:picMkLst>
            <pc:docMk/>
            <pc:sldMk cId="3253149672" sldId="339"/>
            <ac:picMk id="5" creationId="{0D519D71-C89A-6979-2A00-C059C6DCD48D}"/>
          </ac:picMkLst>
        </pc:picChg>
      </pc:sldChg>
      <pc:sldChg chg="addSp delSp modSp mod">
        <pc:chgData name="Ewen Trafford" userId="e520b4bf-a196-48b7-bc10-b1590a457daa" providerId="ADAL" clId="{9530F7EE-B032-4987-98E2-037134168CB7}" dt="2022-09-22T13:55:52.705" v="210" actId="1076"/>
        <pc:sldMkLst>
          <pc:docMk/>
          <pc:sldMk cId="3174718498" sldId="349"/>
        </pc:sldMkLst>
        <pc:spChg chg="mod">
          <ac:chgData name="Ewen Trafford" userId="e520b4bf-a196-48b7-bc10-b1590a457daa" providerId="ADAL" clId="{9530F7EE-B032-4987-98E2-037134168CB7}" dt="2022-09-22T13:54:22.315" v="203" actId="20577"/>
          <ac:spMkLst>
            <pc:docMk/>
            <pc:sldMk cId="3174718498" sldId="349"/>
            <ac:spMk id="7" creationId="{37727167-99CF-CCC2-9252-53D5420DAF5F}"/>
          </ac:spMkLst>
        </pc:spChg>
        <pc:picChg chg="add del mod">
          <ac:chgData name="Ewen Trafford" userId="e520b4bf-a196-48b7-bc10-b1590a457daa" providerId="ADAL" clId="{9530F7EE-B032-4987-98E2-037134168CB7}" dt="2022-09-22T13:54:12.544" v="198"/>
          <ac:picMkLst>
            <pc:docMk/>
            <pc:sldMk cId="3174718498" sldId="349"/>
            <ac:picMk id="3" creationId="{82FBE640-97A8-3571-B726-639701C0E9FB}"/>
          </ac:picMkLst>
        </pc:picChg>
        <pc:picChg chg="add mod">
          <ac:chgData name="Ewen Trafford" userId="e520b4bf-a196-48b7-bc10-b1590a457daa" providerId="ADAL" clId="{9530F7EE-B032-4987-98E2-037134168CB7}" dt="2022-09-22T13:55:52.705" v="210" actId="1076"/>
          <ac:picMkLst>
            <pc:docMk/>
            <pc:sldMk cId="3174718498" sldId="349"/>
            <ac:picMk id="5" creationId="{EDC5736B-ABAB-CBD6-BB39-5BEA050C3CEC}"/>
          </ac:picMkLst>
        </pc:picChg>
      </pc:sldChg>
      <pc:sldChg chg="modSp mod">
        <pc:chgData name="Ewen Trafford" userId="e520b4bf-a196-48b7-bc10-b1590a457daa" providerId="ADAL" clId="{9530F7EE-B032-4987-98E2-037134168CB7}" dt="2022-09-22T13:50:46.839" v="105" actId="20577"/>
        <pc:sldMkLst>
          <pc:docMk/>
          <pc:sldMk cId="1398116469" sldId="351"/>
        </pc:sldMkLst>
        <pc:spChg chg="mod">
          <ac:chgData name="Ewen Trafford" userId="e520b4bf-a196-48b7-bc10-b1590a457daa" providerId="ADAL" clId="{9530F7EE-B032-4987-98E2-037134168CB7}" dt="2022-09-22T13:50:46.839" v="105" actId="20577"/>
          <ac:spMkLst>
            <pc:docMk/>
            <pc:sldMk cId="1398116469" sldId="351"/>
            <ac:spMk id="7" creationId="{37727167-99CF-CCC2-9252-53D5420DAF5F}"/>
          </ac:spMkLst>
        </pc:spChg>
        <pc:picChg chg="mod">
          <ac:chgData name="Ewen Trafford" userId="e520b4bf-a196-48b7-bc10-b1590a457daa" providerId="ADAL" clId="{9530F7EE-B032-4987-98E2-037134168CB7}" dt="2022-09-22T13:50:40.748" v="102" actId="1076"/>
          <ac:picMkLst>
            <pc:docMk/>
            <pc:sldMk cId="1398116469" sldId="351"/>
            <ac:picMk id="4" creationId="{FDA0914D-F8AA-D13F-B469-489CBBBDD45E}"/>
          </ac:picMkLst>
        </pc:picChg>
      </pc:sldChg>
      <pc:sldChg chg="modSp mod">
        <pc:chgData name="Ewen Trafford" userId="e520b4bf-a196-48b7-bc10-b1590a457daa" providerId="ADAL" clId="{9530F7EE-B032-4987-98E2-037134168CB7}" dt="2022-09-22T13:47:42.416" v="76" actId="113"/>
        <pc:sldMkLst>
          <pc:docMk/>
          <pc:sldMk cId="1497220966" sldId="352"/>
        </pc:sldMkLst>
        <pc:spChg chg="mod">
          <ac:chgData name="Ewen Trafford" userId="e520b4bf-a196-48b7-bc10-b1590a457daa" providerId="ADAL" clId="{9530F7EE-B032-4987-98E2-037134168CB7}" dt="2022-09-22T13:47:34.048" v="73" actId="1076"/>
          <ac:spMkLst>
            <pc:docMk/>
            <pc:sldMk cId="1497220966" sldId="352"/>
            <ac:spMk id="5" creationId="{DCE7C319-0ADA-30B1-8D70-E9CCDD97ABB7}"/>
          </ac:spMkLst>
        </pc:spChg>
        <pc:spChg chg="mod">
          <ac:chgData name="Ewen Trafford" userId="e520b4bf-a196-48b7-bc10-b1590a457daa" providerId="ADAL" clId="{9530F7EE-B032-4987-98E2-037134168CB7}" dt="2022-09-22T13:47:42.416" v="76" actId="113"/>
          <ac:spMkLst>
            <pc:docMk/>
            <pc:sldMk cId="1497220966" sldId="352"/>
            <ac:spMk id="7" creationId="{37727167-99CF-CCC2-9252-53D5420DAF5F}"/>
          </ac:spMkLst>
        </pc:spChg>
      </pc:sldChg>
      <pc:sldChg chg="addSp delSp modSp mod">
        <pc:chgData name="Ewen Trafford" userId="e520b4bf-a196-48b7-bc10-b1590a457daa" providerId="ADAL" clId="{9530F7EE-B032-4987-98E2-037134168CB7}" dt="2022-09-22T13:44:48.864" v="60" actId="408"/>
        <pc:sldMkLst>
          <pc:docMk/>
          <pc:sldMk cId="3166122215" sldId="353"/>
        </pc:sldMkLst>
        <pc:picChg chg="add mod modCrop">
          <ac:chgData name="Ewen Trafford" userId="e520b4bf-a196-48b7-bc10-b1590a457daa" providerId="ADAL" clId="{9530F7EE-B032-4987-98E2-037134168CB7}" dt="2022-09-22T13:40:01.017" v="16" actId="1076"/>
          <ac:picMkLst>
            <pc:docMk/>
            <pc:sldMk cId="3166122215" sldId="353"/>
            <ac:picMk id="4" creationId="{2F62F0E2-F3B7-454D-872E-0EC9A8086765}"/>
          </ac:picMkLst>
        </pc:picChg>
        <pc:picChg chg="add mod modCrop">
          <ac:chgData name="Ewen Trafford" userId="e520b4bf-a196-48b7-bc10-b1590a457daa" providerId="ADAL" clId="{9530F7EE-B032-4987-98E2-037134168CB7}" dt="2022-09-22T13:44:48.864" v="60" actId="408"/>
          <ac:picMkLst>
            <pc:docMk/>
            <pc:sldMk cId="3166122215" sldId="353"/>
            <ac:picMk id="6" creationId="{D5387A0F-505A-033E-4883-C8774304B06D}"/>
          </ac:picMkLst>
        </pc:picChg>
        <pc:picChg chg="del">
          <ac:chgData name="Ewen Trafford" userId="e520b4bf-a196-48b7-bc10-b1590a457daa" providerId="ADAL" clId="{9530F7EE-B032-4987-98E2-037134168CB7}" dt="2022-09-22T13:39:35.609" v="8" actId="478"/>
          <ac:picMkLst>
            <pc:docMk/>
            <pc:sldMk cId="3166122215" sldId="353"/>
            <ac:picMk id="8" creationId="{D68D72AD-6DB7-6F75-9803-0215C53D1299}"/>
          </ac:picMkLst>
        </pc:picChg>
        <pc:picChg chg="del">
          <ac:chgData name="Ewen Trafford" userId="e520b4bf-a196-48b7-bc10-b1590a457daa" providerId="ADAL" clId="{9530F7EE-B032-4987-98E2-037134168CB7}" dt="2022-09-22T13:41:25.666" v="33" actId="478"/>
          <ac:picMkLst>
            <pc:docMk/>
            <pc:sldMk cId="3166122215" sldId="353"/>
            <ac:picMk id="10" creationId="{3CDDEECF-9F67-3A0A-F742-724D89E27F97}"/>
          </ac:picMkLst>
        </pc:picChg>
        <pc:picChg chg="add mod modCrop">
          <ac:chgData name="Ewen Trafford" userId="e520b4bf-a196-48b7-bc10-b1590a457daa" providerId="ADAL" clId="{9530F7EE-B032-4987-98E2-037134168CB7}" dt="2022-09-22T13:44:48.864" v="60" actId="408"/>
          <ac:picMkLst>
            <pc:docMk/>
            <pc:sldMk cId="3166122215" sldId="353"/>
            <ac:picMk id="11" creationId="{46817FE3-66A9-7C78-65EF-F56FD9EAEA6B}"/>
          </ac:picMkLst>
        </pc:picChg>
        <pc:picChg chg="del">
          <ac:chgData name="Ewen Trafford" userId="e520b4bf-a196-48b7-bc10-b1590a457daa" providerId="ADAL" clId="{9530F7EE-B032-4987-98E2-037134168CB7}" dt="2022-09-22T13:40:32.589" v="20" actId="478"/>
          <ac:picMkLst>
            <pc:docMk/>
            <pc:sldMk cId="3166122215" sldId="353"/>
            <ac:picMk id="12" creationId="{CA0F1BDE-3FAB-F73A-672B-1093C79745C1}"/>
          </ac:picMkLst>
        </pc:picChg>
        <pc:picChg chg="del">
          <ac:chgData name="Ewen Trafford" userId="e520b4bf-a196-48b7-bc10-b1590a457daa" providerId="ADAL" clId="{9530F7EE-B032-4987-98E2-037134168CB7}" dt="2022-09-22T13:44:12.145" v="46" actId="478"/>
          <ac:picMkLst>
            <pc:docMk/>
            <pc:sldMk cId="3166122215" sldId="353"/>
            <ac:picMk id="14" creationId="{503C3CAC-C40D-A0A9-DEBE-2AD0CBAC13E1}"/>
          </ac:picMkLst>
        </pc:picChg>
        <pc:picChg chg="add mod modCrop">
          <ac:chgData name="Ewen Trafford" userId="e520b4bf-a196-48b7-bc10-b1590a457daa" providerId="ADAL" clId="{9530F7EE-B032-4987-98E2-037134168CB7}" dt="2022-09-22T13:44:43.184" v="59" actId="14100"/>
          <ac:picMkLst>
            <pc:docMk/>
            <pc:sldMk cId="3166122215" sldId="353"/>
            <ac:picMk id="15" creationId="{786DEA8D-C9E6-8F16-CFE1-7AE9AF897492}"/>
          </ac:picMkLst>
        </pc:picChg>
      </pc:sldChg>
      <pc:sldChg chg="addSp delSp modSp mod">
        <pc:chgData name="Ewen Trafford" userId="e520b4bf-a196-48b7-bc10-b1590a457daa" providerId="ADAL" clId="{9530F7EE-B032-4987-98E2-037134168CB7}" dt="2022-09-22T13:45:30.933" v="69" actId="12788"/>
        <pc:sldMkLst>
          <pc:docMk/>
          <pc:sldMk cId="858578858" sldId="354"/>
        </pc:sldMkLst>
        <pc:spChg chg="mod">
          <ac:chgData name="Ewen Trafford" userId="e520b4bf-a196-48b7-bc10-b1590a457daa" providerId="ADAL" clId="{9530F7EE-B032-4987-98E2-037134168CB7}" dt="2022-09-22T13:45:13.964" v="66" actId="12788"/>
          <ac:spMkLst>
            <pc:docMk/>
            <pc:sldMk cId="858578858" sldId="354"/>
            <ac:spMk id="3" creationId="{15CDF475-93A8-0FDC-4892-BA2D8428B00A}"/>
          </ac:spMkLst>
        </pc:spChg>
        <pc:spChg chg="mod">
          <ac:chgData name="Ewen Trafford" userId="e520b4bf-a196-48b7-bc10-b1590a457daa" providerId="ADAL" clId="{9530F7EE-B032-4987-98E2-037134168CB7}" dt="2022-09-22T13:45:26.565" v="68" actId="12788"/>
          <ac:spMkLst>
            <pc:docMk/>
            <pc:sldMk cId="858578858" sldId="354"/>
            <ac:spMk id="4" creationId="{2E3CC12D-705F-71C3-0081-004AC24AF59E}"/>
          </ac:spMkLst>
        </pc:spChg>
        <pc:spChg chg="mod">
          <ac:chgData name="Ewen Trafford" userId="e520b4bf-a196-48b7-bc10-b1590a457daa" providerId="ADAL" clId="{9530F7EE-B032-4987-98E2-037134168CB7}" dt="2022-09-22T13:45:18.940" v="67" actId="12788"/>
          <ac:spMkLst>
            <pc:docMk/>
            <pc:sldMk cId="858578858" sldId="354"/>
            <ac:spMk id="5" creationId="{8A150250-D0F3-5844-3416-83F2AE2DAD5C}"/>
          </ac:spMkLst>
        </pc:spChg>
        <pc:spChg chg="mod">
          <ac:chgData name="Ewen Trafford" userId="e520b4bf-a196-48b7-bc10-b1590a457daa" providerId="ADAL" clId="{9530F7EE-B032-4987-98E2-037134168CB7}" dt="2022-09-22T13:45:30.933" v="69" actId="12788"/>
          <ac:spMkLst>
            <pc:docMk/>
            <pc:sldMk cId="858578858" sldId="354"/>
            <ac:spMk id="6" creationId="{A829D331-302E-9707-E540-D7C8FFA1BC67}"/>
          </ac:spMkLst>
        </pc:spChg>
        <pc:picChg chg="del">
          <ac:chgData name="Ewen Trafford" userId="e520b4bf-a196-48b7-bc10-b1590a457daa" providerId="ADAL" clId="{9530F7EE-B032-4987-98E2-037134168CB7}" dt="2022-09-22T13:39:34.579" v="7" actId="478"/>
          <ac:picMkLst>
            <pc:docMk/>
            <pc:sldMk cId="858578858" sldId="354"/>
            <ac:picMk id="8" creationId="{D68D72AD-6DB7-6F75-9803-0215C53D1299}"/>
          </ac:picMkLst>
        </pc:picChg>
        <pc:picChg chg="add del mod">
          <ac:chgData name="Ewen Trafford" userId="e520b4bf-a196-48b7-bc10-b1590a457daa" providerId="ADAL" clId="{9530F7EE-B032-4987-98E2-037134168CB7}" dt="2022-09-22T13:44:54.731" v="61" actId="478"/>
          <ac:picMkLst>
            <pc:docMk/>
            <pc:sldMk cId="858578858" sldId="354"/>
            <ac:picMk id="9" creationId="{7556D07A-07CA-0BF2-C45A-182FA46D448A}"/>
          </ac:picMkLst>
        </pc:picChg>
        <pc:picChg chg="del">
          <ac:chgData name="Ewen Trafford" userId="e520b4bf-a196-48b7-bc10-b1590a457daa" providerId="ADAL" clId="{9530F7EE-B032-4987-98E2-037134168CB7}" dt="2022-09-22T13:41:24.349" v="32" actId="478"/>
          <ac:picMkLst>
            <pc:docMk/>
            <pc:sldMk cId="858578858" sldId="354"/>
            <ac:picMk id="10" creationId="{3CDDEECF-9F67-3A0A-F742-724D89E27F97}"/>
          </ac:picMkLst>
        </pc:picChg>
        <pc:picChg chg="add del mod">
          <ac:chgData name="Ewen Trafford" userId="e520b4bf-a196-48b7-bc10-b1590a457daa" providerId="ADAL" clId="{9530F7EE-B032-4987-98E2-037134168CB7}" dt="2022-09-22T13:44:55.158" v="62" actId="478"/>
          <ac:picMkLst>
            <pc:docMk/>
            <pc:sldMk cId="858578858" sldId="354"/>
            <ac:picMk id="11" creationId="{04668794-65F4-2DBF-5A7F-EA135B845BED}"/>
          </ac:picMkLst>
        </pc:picChg>
        <pc:picChg chg="del">
          <ac:chgData name="Ewen Trafford" userId="e520b4bf-a196-48b7-bc10-b1590a457daa" providerId="ADAL" clId="{9530F7EE-B032-4987-98E2-037134168CB7}" dt="2022-09-22T13:40:31.220" v="19" actId="478"/>
          <ac:picMkLst>
            <pc:docMk/>
            <pc:sldMk cId="858578858" sldId="354"/>
            <ac:picMk id="12" creationId="{CA0F1BDE-3FAB-F73A-672B-1093C79745C1}"/>
          </ac:picMkLst>
        </pc:picChg>
        <pc:picChg chg="add del mod">
          <ac:chgData name="Ewen Trafford" userId="e520b4bf-a196-48b7-bc10-b1590a457daa" providerId="ADAL" clId="{9530F7EE-B032-4987-98E2-037134168CB7}" dt="2022-09-22T13:44:55.511" v="63" actId="478"/>
          <ac:picMkLst>
            <pc:docMk/>
            <pc:sldMk cId="858578858" sldId="354"/>
            <ac:picMk id="13" creationId="{63CAB31C-B838-510F-C96B-DC7BD1245A6D}"/>
          </ac:picMkLst>
        </pc:picChg>
        <pc:picChg chg="del">
          <ac:chgData name="Ewen Trafford" userId="e520b4bf-a196-48b7-bc10-b1590a457daa" providerId="ADAL" clId="{9530F7EE-B032-4987-98E2-037134168CB7}" dt="2022-09-22T13:44:10.563" v="45" actId="478"/>
          <ac:picMkLst>
            <pc:docMk/>
            <pc:sldMk cId="858578858" sldId="354"/>
            <ac:picMk id="14" creationId="{503C3CAC-C40D-A0A9-DEBE-2AD0CBAC13E1}"/>
          </ac:picMkLst>
        </pc:picChg>
        <pc:picChg chg="add mod">
          <ac:chgData name="Ewen Trafford" userId="e520b4bf-a196-48b7-bc10-b1590a457daa" providerId="ADAL" clId="{9530F7EE-B032-4987-98E2-037134168CB7}" dt="2022-09-22T13:45:13.964" v="66" actId="12788"/>
          <ac:picMkLst>
            <pc:docMk/>
            <pc:sldMk cId="858578858" sldId="354"/>
            <ac:picMk id="15" creationId="{EA2E8A09-B7B0-1D51-DA35-2ECB5DCC2AA0}"/>
          </ac:picMkLst>
        </pc:picChg>
        <pc:picChg chg="add mod">
          <ac:chgData name="Ewen Trafford" userId="e520b4bf-a196-48b7-bc10-b1590a457daa" providerId="ADAL" clId="{9530F7EE-B032-4987-98E2-037134168CB7}" dt="2022-09-22T13:45:18.940" v="67" actId="12788"/>
          <ac:picMkLst>
            <pc:docMk/>
            <pc:sldMk cId="858578858" sldId="354"/>
            <ac:picMk id="16" creationId="{6AA1E99F-2866-4EC9-60F7-311CC506EA81}"/>
          </ac:picMkLst>
        </pc:picChg>
        <pc:picChg chg="add mod">
          <ac:chgData name="Ewen Trafford" userId="e520b4bf-a196-48b7-bc10-b1590a457daa" providerId="ADAL" clId="{9530F7EE-B032-4987-98E2-037134168CB7}" dt="2022-09-22T13:45:26.565" v="68" actId="12788"/>
          <ac:picMkLst>
            <pc:docMk/>
            <pc:sldMk cId="858578858" sldId="354"/>
            <ac:picMk id="17" creationId="{52ECC449-373F-FC83-1837-8426AD6B4370}"/>
          </ac:picMkLst>
        </pc:picChg>
        <pc:picChg chg="add mod">
          <ac:chgData name="Ewen Trafford" userId="e520b4bf-a196-48b7-bc10-b1590a457daa" providerId="ADAL" clId="{9530F7EE-B032-4987-98E2-037134168CB7}" dt="2022-09-22T13:45:30.933" v="69" actId="12788"/>
          <ac:picMkLst>
            <pc:docMk/>
            <pc:sldMk cId="858578858" sldId="354"/>
            <ac:picMk id="18" creationId="{E9B05CD2-6CC8-3A9E-289D-1B7FD6445ECB}"/>
          </ac:picMkLst>
        </pc:picChg>
      </pc:sldChg>
      <pc:sldChg chg="addSp delSp modSp mod">
        <pc:chgData name="Ewen Trafford" userId="e520b4bf-a196-48b7-bc10-b1590a457daa" providerId="ADAL" clId="{9530F7EE-B032-4987-98E2-037134168CB7}" dt="2022-09-22T13:50:33.320" v="101" actId="1076"/>
        <pc:sldMkLst>
          <pc:docMk/>
          <pc:sldMk cId="771728850" sldId="355"/>
        </pc:sldMkLst>
        <pc:spChg chg="mod">
          <ac:chgData name="Ewen Trafford" userId="e520b4bf-a196-48b7-bc10-b1590a457daa" providerId="ADAL" clId="{9530F7EE-B032-4987-98E2-037134168CB7}" dt="2022-09-22T13:49:48.301" v="96" actId="553"/>
          <ac:spMkLst>
            <pc:docMk/>
            <pc:sldMk cId="771728850" sldId="355"/>
            <ac:spMk id="8" creationId="{4F58DE83-E4B2-2498-405C-8BEF2631DED6}"/>
          </ac:spMkLst>
        </pc:spChg>
        <pc:spChg chg="mod">
          <ac:chgData name="Ewen Trafford" userId="e520b4bf-a196-48b7-bc10-b1590a457daa" providerId="ADAL" clId="{9530F7EE-B032-4987-98E2-037134168CB7}" dt="2022-09-22T13:49:48.301" v="96" actId="553"/>
          <ac:spMkLst>
            <pc:docMk/>
            <pc:sldMk cId="771728850" sldId="355"/>
            <ac:spMk id="9" creationId="{425D30B9-D455-E71E-67E0-0EF4E416D348}"/>
          </ac:spMkLst>
        </pc:spChg>
        <pc:picChg chg="add mod">
          <ac:chgData name="Ewen Trafford" userId="e520b4bf-a196-48b7-bc10-b1590a457daa" providerId="ADAL" clId="{9530F7EE-B032-4987-98E2-037134168CB7}" dt="2022-09-22T13:49:41.268" v="93" actId="1076"/>
          <ac:picMkLst>
            <pc:docMk/>
            <pc:sldMk cId="771728850" sldId="355"/>
            <ac:picMk id="3" creationId="{384FF956-A33F-9C2A-4B0E-A26FCD274570}"/>
          </ac:picMkLst>
        </pc:picChg>
        <pc:picChg chg="del">
          <ac:chgData name="Ewen Trafford" userId="e520b4bf-a196-48b7-bc10-b1590a457daa" providerId="ADAL" clId="{9530F7EE-B032-4987-98E2-037134168CB7}" dt="2022-09-22T13:50:20.051" v="97" actId="478"/>
          <ac:picMkLst>
            <pc:docMk/>
            <pc:sldMk cId="771728850" sldId="355"/>
            <ac:picMk id="4" creationId="{D63BD97C-C057-2C83-9EEB-187FA475F675}"/>
          </ac:picMkLst>
        </pc:picChg>
        <pc:picChg chg="del">
          <ac:chgData name="Ewen Trafford" userId="e520b4bf-a196-48b7-bc10-b1590a457daa" providerId="ADAL" clId="{9530F7EE-B032-4987-98E2-037134168CB7}" dt="2022-09-22T13:49:08.326" v="84" actId="478"/>
          <ac:picMkLst>
            <pc:docMk/>
            <pc:sldMk cId="771728850" sldId="355"/>
            <ac:picMk id="6" creationId="{50C35B56-628E-17A0-F7F9-05742DBF32E1}"/>
          </ac:picMkLst>
        </pc:picChg>
        <pc:picChg chg="add mod">
          <ac:chgData name="Ewen Trafford" userId="e520b4bf-a196-48b7-bc10-b1590a457daa" providerId="ADAL" clId="{9530F7EE-B032-4987-98E2-037134168CB7}" dt="2022-09-22T13:50:33.320" v="101" actId="1076"/>
          <ac:picMkLst>
            <pc:docMk/>
            <pc:sldMk cId="771728850" sldId="355"/>
            <ac:picMk id="10" creationId="{00ED6959-A2CB-8ED4-8CAA-3D7263C01A46}"/>
          </ac:picMkLst>
        </pc:picChg>
      </pc:sldChg>
      <pc:sldChg chg="addSp delSp modSp mod">
        <pc:chgData name="Ewen Trafford" userId="e520b4bf-a196-48b7-bc10-b1590a457daa" providerId="ADAL" clId="{9530F7EE-B032-4987-98E2-037134168CB7}" dt="2022-09-22T13:49:34.288" v="90" actId="1076"/>
        <pc:sldMkLst>
          <pc:docMk/>
          <pc:sldMk cId="3519065589" sldId="356"/>
        </pc:sldMkLst>
        <pc:picChg chg="del">
          <ac:chgData name="Ewen Trafford" userId="e520b4bf-a196-48b7-bc10-b1590a457daa" providerId="ADAL" clId="{9530F7EE-B032-4987-98E2-037134168CB7}" dt="2022-09-22T13:49:05.993" v="83" actId="478"/>
          <ac:picMkLst>
            <pc:docMk/>
            <pc:sldMk cId="3519065589" sldId="356"/>
            <ac:picMk id="4" creationId="{E704CB03-40C0-FF3C-7E0C-B36B22B0FD00}"/>
          </ac:picMkLst>
        </pc:picChg>
        <pc:picChg chg="add mod">
          <ac:chgData name="Ewen Trafford" userId="e520b4bf-a196-48b7-bc10-b1590a457daa" providerId="ADAL" clId="{9530F7EE-B032-4987-98E2-037134168CB7}" dt="2022-09-22T13:49:34.288" v="90" actId="1076"/>
          <ac:picMkLst>
            <pc:docMk/>
            <pc:sldMk cId="3519065589" sldId="356"/>
            <ac:picMk id="5" creationId="{CEE85929-1BF3-7C08-8E25-692CF926A104}"/>
          </ac:picMkLst>
        </pc:picChg>
      </pc:sldChg>
      <pc:sldChg chg="addSp modSp mod">
        <pc:chgData name="Ewen Trafford" userId="e520b4bf-a196-48b7-bc10-b1590a457daa" providerId="ADAL" clId="{9530F7EE-B032-4987-98E2-037134168CB7}" dt="2022-09-22T13:49:03.159" v="82" actId="1076"/>
        <pc:sldMkLst>
          <pc:docMk/>
          <pc:sldMk cId="3172802924" sldId="357"/>
        </pc:sldMkLst>
        <pc:picChg chg="add mod">
          <ac:chgData name="Ewen Trafford" userId="e520b4bf-a196-48b7-bc10-b1590a457daa" providerId="ADAL" clId="{9530F7EE-B032-4987-98E2-037134168CB7}" dt="2022-09-22T13:49:03.159" v="82" actId="1076"/>
          <ac:picMkLst>
            <pc:docMk/>
            <pc:sldMk cId="3172802924" sldId="357"/>
            <ac:picMk id="4" creationId="{CECB7682-E799-9490-DC1A-EB8DF9900F0D}"/>
          </ac:picMkLst>
        </pc:picChg>
      </pc:sldChg>
      <pc:sldChg chg="modSp mod">
        <pc:chgData name="Ewen Trafford" userId="e520b4bf-a196-48b7-bc10-b1590a457daa" providerId="ADAL" clId="{9530F7EE-B032-4987-98E2-037134168CB7}" dt="2022-09-22T13:51:30.366" v="115" actId="1076"/>
        <pc:sldMkLst>
          <pc:docMk/>
          <pc:sldMk cId="3659126516" sldId="358"/>
        </pc:sldMkLst>
        <pc:graphicFrameChg chg="mod modGraphic">
          <ac:chgData name="Ewen Trafford" userId="e520b4bf-a196-48b7-bc10-b1590a457daa" providerId="ADAL" clId="{9530F7EE-B032-4987-98E2-037134168CB7}" dt="2022-09-22T13:51:30.366" v="115" actId="1076"/>
          <ac:graphicFrameMkLst>
            <pc:docMk/>
            <pc:sldMk cId="3659126516" sldId="358"/>
            <ac:graphicFrameMk id="7" creationId="{21663884-8A5D-DD9A-B4F0-E1EED248AA0D}"/>
          </ac:graphicFrameMkLst>
        </pc:graphicFrameChg>
      </pc:sldChg>
      <pc:sldChg chg="addSp delSp modSp mod">
        <pc:chgData name="Ewen Trafford" userId="e520b4bf-a196-48b7-bc10-b1590a457daa" providerId="ADAL" clId="{9530F7EE-B032-4987-98E2-037134168CB7}" dt="2022-09-22T13:51:01.971" v="109"/>
        <pc:sldMkLst>
          <pc:docMk/>
          <pc:sldMk cId="2178663783" sldId="359"/>
        </pc:sldMkLst>
        <pc:picChg chg="add mod">
          <ac:chgData name="Ewen Trafford" userId="e520b4bf-a196-48b7-bc10-b1590a457daa" providerId="ADAL" clId="{9530F7EE-B032-4987-98E2-037134168CB7}" dt="2022-09-22T13:51:01.971" v="109"/>
          <ac:picMkLst>
            <pc:docMk/>
            <pc:sldMk cId="2178663783" sldId="359"/>
            <ac:picMk id="3" creationId="{6C2A454A-8346-2969-5C6D-43C48C56873E}"/>
          </ac:picMkLst>
        </pc:picChg>
        <pc:picChg chg="del">
          <ac:chgData name="Ewen Trafford" userId="e520b4bf-a196-48b7-bc10-b1590a457daa" providerId="ADAL" clId="{9530F7EE-B032-4987-98E2-037134168CB7}" dt="2022-09-22T13:50:50.944" v="106" actId="478"/>
          <ac:picMkLst>
            <pc:docMk/>
            <pc:sldMk cId="2178663783" sldId="359"/>
            <ac:picMk id="5" creationId="{15B2C173-2922-1EBF-53CB-335A0A536A89}"/>
          </ac:picMkLst>
        </pc:picChg>
      </pc:sldChg>
      <pc:sldChg chg="add del">
        <pc:chgData name="Ewen Trafford" userId="e520b4bf-a196-48b7-bc10-b1590a457daa" providerId="ADAL" clId="{9530F7EE-B032-4987-98E2-037134168CB7}" dt="2022-09-22T13:50:57.566" v="108"/>
        <pc:sldMkLst>
          <pc:docMk/>
          <pc:sldMk cId="2708053118" sldId="360"/>
        </pc:sldMkLst>
      </pc:sldChg>
    </pc:docChg>
  </pc:docChgLst>
  <pc:docChgLst>
    <pc:chgData name="Guest User" userId="S::urn:spo:anon#5c1cd7b39cb30a75ca1cea0fb2ba435992d6c6a6b484349a9ca7505025227c67::" providerId="AD" clId="Web-{1D1D411A-8275-DB23-6E41-6CDACB55E66B}"/>
    <pc:docChg chg="addSld modSld">
      <pc:chgData name="Guest User" userId="S::urn:spo:anon#5c1cd7b39cb30a75ca1cea0fb2ba435992d6c6a6b484349a9ca7505025227c67::" providerId="AD" clId="Web-{1D1D411A-8275-DB23-6E41-6CDACB55E66B}" dt="2022-07-12T11:43:11.363" v="591"/>
      <pc:docMkLst>
        <pc:docMk/>
      </pc:docMkLst>
      <pc:sldChg chg="modSp">
        <pc:chgData name="Guest User" userId="S::urn:spo:anon#5c1cd7b39cb30a75ca1cea0fb2ba435992d6c6a6b484349a9ca7505025227c67::" providerId="AD" clId="Web-{1D1D411A-8275-DB23-6E41-6CDACB55E66B}" dt="2022-07-12T08:54:23.051" v="1" actId="20577"/>
        <pc:sldMkLst>
          <pc:docMk/>
          <pc:sldMk cId="3137792006" sldId="277"/>
        </pc:sldMkLst>
        <pc:spChg chg="mod">
          <ac:chgData name="Guest User" userId="S::urn:spo:anon#5c1cd7b39cb30a75ca1cea0fb2ba435992d6c6a6b484349a9ca7505025227c67::" providerId="AD" clId="Web-{1D1D411A-8275-DB23-6E41-6CDACB55E66B}" dt="2022-07-12T08:54:23.051" v="1" actId="20577"/>
          <ac:spMkLst>
            <pc:docMk/>
            <pc:sldMk cId="3137792006" sldId="277"/>
            <ac:spMk id="3" creationId="{00000000-0000-0000-0000-000000000000}"/>
          </ac:spMkLst>
        </pc:spChg>
      </pc:sldChg>
      <pc:sldChg chg="modSp">
        <pc:chgData name="Guest User" userId="S::urn:spo:anon#5c1cd7b39cb30a75ca1cea0fb2ba435992d6c6a6b484349a9ca7505025227c67::" providerId="AD" clId="Web-{1D1D411A-8275-DB23-6E41-6CDACB55E66B}" dt="2022-07-12T10:50:21.414" v="22" actId="20577"/>
        <pc:sldMkLst>
          <pc:docMk/>
          <pc:sldMk cId="4146092675" sldId="301"/>
        </pc:sldMkLst>
        <pc:spChg chg="mod">
          <ac:chgData name="Guest User" userId="S::urn:spo:anon#5c1cd7b39cb30a75ca1cea0fb2ba435992d6c6a6b484349a9ca7505025227c67::" providerId="AD" clId="Web-{1D1D411A-8275-DB23-6E41-6CDACB55E66B}" dt="2022-07-12T10:50:21.414" v="22" actId="20577"/>
          <ac:spMkLst>
            <pc:docMk/>
            <pc:sldMk cId="4146092675" sldId="301"/>
            <ac:spMk id="4" creationId="{AD0D0778-949E-4414-BC9B-77E033DFFAA2}"/>
          </ac:spMkLst>
        </pc:spChg>
      </pc:sldChg>
      <pc:sldChg chg="modSp">
        <pc:chgData name="Guest User" userId="S::urn:spo:anon#5c1cd7b39cb30a75ca1cea0fb2ba435992d6c6a6b484349a9ca7505025227c67::" providerId="AD" clId="Web-{1D1D411A-8275-DB23-6E41-6CDACB55E66B}" dt="2022-07-12T10:48:32.348" v="18" actId="1076"/>
        <pc:sldMkLst>
          <pc:docMk/>
          <pc:sldMk cId="3209739012" sldId="310"/>
        </pc:sldMkLst>
        <pc:spChg chg="mod">
          <ac:chgData name="Guest User" userId="S::urn:spo:anon#5c1cd7b39cb30a75ca1cea0fb2ba435992d6c6a6b484349a9ca7505025227c67::" providerId="AD" clId="Web-{1D1D411A-8275-DB23-6E41-6CDACB55E66B}" dt="2022-07-12T10:48:32.348" v="18" actId="1076"/>
          <ac:spMkLst>
            <pc:docMk/>
            <pc:sldMk cId="3209739012" sldId="310"/>
            <ac:spMk id="2" creationId="{ECB39143-43DB-404B-999A-68A64BABF4DE}"/>
          </ac:spMkLst>
        </pc:spChg>
      </pc:sldChg>
      <pc:sldChg chg="addSp delSp modSp new">
        <pc:chgData name="Guest User" userId="S::urn:spo:anon#5c1cd7b39cb30a75ca1cea0fb2ba435992d6c6a6b484349a9ca7505025227c67::" providerId="AD" clId="Web-{1D1D411A-8275-DB23-6E41-6CDACB55E66B}" dt="2022-07-12T11:24:18.488" v="319" actId="1076"/>
        <pc:sldMkLst>
          <pc:docMk/>
          <pc:sldMk cId="1295128182" sldId="323"/>
        </pc:sldMkLst>
        <pc:spChg chg="mod">
          <ac:chgData name="Guest User" userId="S::urn:spo:anon#5c1cd7b39cb30a75ca1cea0fb2ba435992d6c6a6b484349a9ca7505025227c67::" providerId="AD" clId="Web-{1D1D411A-8275-DB23-6E41-6CDACB55E66B}" dt="2022-07-12T10:20:06.435" v="11" actId="20577"/>
          <ac:spMkLst>
            <pc:docMk/>
            <pc:sldMk cId="1295128182" sldId="323"/>
            <ac:spMk id="2" creationId="{2F7E561F-2127-93AD-E5E8-F261FB5AE578}"/>
          </ac:spMkLst>
        </pc:spChg>
        <pc:spChg chg="del mod">
          <ac:chgData name="Guest User" userId="S::urn:spo:anon#5c1cd7b39cb30a75ca1cea0fb2ba435992d6c6a6b484349a9ca7505025227c67::" providerId="AD" clId="Web-{1D1D411A-8275-DB23-6E41-6CDACB55E66B}" dt="2022-07-12T11:07:45.600" v="177"/>
          <ac:spMkLst>
            <pc:docMk/>
            <pc:sldMk cId="1295128182" sldId="323"/>
            <ac:spMk id="3" creationId="{EE92ADC3-30A9-6CAD-E756-BB070B988DAC}"/>
          </ac:spMkLst>
        </pc:spChg>
        <pc:spChg chg="add mod">
          <ac:chgData name="Guest User" userId="S::urn:spo:anon#5c1cd7b39cb30a75ca1cea0fb2ba435992d6c6a6b484349a9ca7505025227c67::" providerId="AD" clId="Web-{1D1D411A-8275-DB23-6E41-6CDACB55E66B}" dt="2022-07-12T10:56:38.175" v="105" actId="20577"/>
          <ac:spMkLst>
            <pc:docMk/>
            <pc:sldMk cId="1295128182" sldId="323"/>
            <ac:spMk id="7" creationId="{BE51C01F-C888-7601-AF8A-1C458D90020A}"/>
          </ac:spMkLst>
        </pc:spChg>
        <pc:spChg chg="add mod">
          <ac:chgData name="Guest User" userId="S::urn:spo:anon#5c1cd7b39cb30a75ca1cea0fb2ba435992d6c6a6b484349a9ca7505025227c67::" providerId="AD" clId="Web-{1D1D411A-8275-DB23-6E41-6CDACB55E66B}" dt="2022-07-12T11:09:11.852" v="184" actId="1076"/>
          <ac:spMkLst>
            <pc:docMk/>
            <pc:sldMk cId="1295128182" sldId="323"/>
            <ac:spMk id="9" creationId="{E6787C31-AB7D-ED7B-C1FB-E3A99EF1458A}"/>
          </ac:spMkLst>
        </pc:spChg>
        <pc:spChg chg="add mod">
          <ac:chgData name="Guest User" userId="S::urn:spo:anon#5c1cd7b39cb30a75ca1cea0fb2ba435992d6c6a6b484349a9ca7505025227c67::" providerId="AD" clId="Web-{1D1D411A-8275-DB23-6E41-6CDACB55E66B}" dt="2022-07-12T11:09:05.711" v="182" actId="1076"/>
          <ac:spMkLst>
            <pc:docMk/>
            <pc:sldMk cId="1295128182" sldId="323"/>
            <ac:spMk id="12" creationId="{ACAB7BCE-3F87-F281-E32F-23286F18B83B}"/>
          </ac:spMkLst>
        </pc:spChg>
        <pc:spChg chg="add del mod">
          <ac:chgData name="Guest User" userId="S::urn:spo:anon#5c1cd7b39cb30a75ca1cea0fb2ba435992d6c6a6b484349a9ca7505025227c67::" providerId="AD" clId="Web-{1D1D411A-8275-DB23-6E41-6CDACB55E66B}" dt="2022-07-12T11:09:01.758" v="181"/>
          <ac:spMkLst>
            <pc:docMk/>
            <pc:sldMk cId="1295128182" sldId="323"/>
            <ac:spMk id="14" creationId="{A5485BD3-9F0A-EC50-F55E-7D36A087E8B1}"/>
          </ac:spMkLst>
        </pc:spChg>
        <pc:spChg chg="add mod">
          <ac:chgData name="Guest User" userId="S::urn:spo:anon#5c1cd7b39cb30a75ca1cea0fb2ba435992d6c6a6b484349a9ca7505025227c67::" providerId="AD" clId="Web-{1D1D411A-8275-DB23-6E41-6CDACB55E66B}" dt="2022-07-12T11:11:25.653" v="192" actId="20577"/>
          <ac:spMkLst>
            <pc:docMk/>
            <pc:sldMk cId="1295128182" sldId="323"/>
            <ac:spMk id="17" creationId="{9008EDF2-18EF-B7E9-26AA-51E6012BB81A}"/>
          </ac:spMkLst>
        </pc:spChg>
        <pc:spChg chg="add mod">
          <ac:chgData name="Guest User" userId="S::urn:spo:anon#5c1cd7b39cb30a75ca1cea0fb2ba435992d6c6a6b484349a9ca7505025227c67::" providerId="AD" clId="Web-{1D1D411A-8275-DB23-6E41-6CDACB55E66B}" dt="2022-07-12T11:18:45.916" v="307" actId="20577"/>
          <ac:spMkLst>
            <pc:docMk/>
            <pc:sldMk cId="1295128182" sldId="323"/>
            <ac:spMk id="18" creationId="{AD7E7EC3-B1E2-11C7-0EF9-54645D9B41CE}"/>
          </ac:spMkLst>
        </pc:spChg>
        <pc:spChg chg="add del mod">
          <ac:chgData name="Guest User" userId="S::urn:spo:anon#5c1cd7b39cb30a75ca1cea0fb2ba435992d6c6a6b484349a9ca7505025227c67::" providerId="AD" clId="Web-{1D1D411A-8275-DB23-6E41-6CDACB55E66B}" dt="2022-07-12T11:16:07.302" v="290"/>
          <ac:spMkLst>
            <pc:docMk/>
            <pc:sldMk cId="1295128182" sldId="323"/>
            <ac:spMk id="19" creationId="{D0C84066-437F-A46F-29A2-864593E54DA5}"/>
          </ac:spMkLst>
        </pc:spChg>
        <pc:picChg chg="add del mod">
          <ac:chgData name="Guest User" userId="S::urn:spo:anon#5c1cd7b39cb30a75ca1cea0fb2ba435992d6c6a6b484349a9ca7505025227c67::" providerId="AD" clId="Web-{1D1D411A-8275-DB23-6E41-6CDACB55E66B}" dt="2022-07-12T11:09:07.743" v="183"/>
          <ac:picMkLst>
            <pc:docMk/>
            <pc:sldMk cId="1295128182" sldId="323"/>
            <ac:picMk id="5" creationId="{7E82FE6C-2704-BA2B-B36C-5A2198D4DA63}"/>
          </ac:picMkLst>
        </pc:picChg>
        <pc:picChg chg="add mod">
          <ac:chgData name="Guest User" userId="S::urn:spo:anon#5c1cd7b39cb30a75ca1cea0fb2ba435992d6c6a6b484349a9ca7505025227c67::" providerId="AD" clId="Web-{1D1D411A-8275-DB23-6E41-6CDACB55E66B}" dt="2022-07-12T11:16:18.864" v="293" actId="1076"/>
          <ac:picMkLst>
            <pc:docMk/>
            <pc:sldMk cId="1295128182" sldId="323"/>
            <ac:picMk id="11" creationId="{7A5C09E1-CEB7-781C-0DCC-3A8283AA8583}"/>
          </ac:picMkLst>
        </pc:picChg>
        <pc:picChg chg="add mod">
          <ac:chgData name="Guest User" userId="S::urn:spo:anon#5c1cd7b39cb30a75ca1cea0fb2ba435992d6c6a6b484349a9ca7505025227c67::" providerId="AD" clId="Web-{1D1D411A-8275-DB23-6E41-6CDACB55E66B}" dt="2022-07-12T11:09:41.619" v="189" actId="1076"/>
          <ac:picMkLst>
            <pc:docMk/>
            <pc:sldMk cId="1295128182" sldId="323"/>
            <ac:picMk id="16" creationId="{FBE7991B-02E9-AEEF-1552-E2EE83FA81E2}"/>
          </ac:picMkLst>
        </pc:picChg>
        <pc:picChg chg="add del mod">
          <ac:chgData name="Guest User" userId="S::urn:spo:anon#5c1cd7b39cb30a75ca1cea0fb2ba435992d6c6a6b484349a9ca7505025227c67::" providerId="AD" clId="Web-{1D1D411A-8275-DB23-6E41-6CDACB55E66B}" dt="2022-07-12T11:23:59.737" v="311"/>
          <ac:picMkLst>
            <pc:docMk/>
            <pc:sldMk cId="1295128182" sldId="323"/>
            <ac:picMk id="21" creationId="{B9C31303-A09F-6DBC-5586-B41E16BEB22C}"/>
          </ac:picMkLst>
        </pc:picChg>
        <pc:picChg chg="add mod">
          <ac:chgData name="Guest User" userId="S::urn:spo:anon#5c1cd7b39cb30a75ca1cea0fb2ba435992d6c6a6b484349a9ca7505025227c67::" providerId="AD" clId="Web-{1D1D411A-8275-DB23-6E41-6CDACB55E66B}" dt="2022-07-12T11:24:18.488" v="319" actId="1076"/>
          <ac:picMkLst>
            <pc:docMk/>
            <pc:sldMk cId="1295128182" sldId="323"/>
            <ac:picMk id="23" creationId="{56D382EA-5F76-FBF0-1CF8-22F19D4D1D52}"/>
          </ac:picMkLst>
        </pc:picChg>
      </pc:sldChg>
      <pc:sldChg chg="addSp delSp modSp new">
        <pc:chgData name="Guest User" userId="S::urn:spo:anon#5c1cd7b39cb30a75ca1cea0fb2ba435992d6c6a6b484349a9ca7505025227c67::" providerId="AD" clId="Web-{1D1D411A-8275-DB23-6E41-6CDACB55E66B}" dt="2022-07-12T11:43:11.363" v="591"/>
        <pc:sldMkLst>
          <pc:docMk/>
          <pc:sldMk cId="2450036879" sldId="324"/>
        </pc:sldMkLst>
        <pc:spChg chg="mod">
          <ac:chgData name="Guest User" userId="S::urn:spo:anon#5c1cd7b39cb30a75ca1cea0fb2ba435992d6c6a6b484349a9ca7505025227c67::" providerId="AD" clId="Web-{1D1D411A-8275-DB23-6E41-6CDACB55E66B}" dt="2022-07-12T10:47:36.643" v="17" actId="20577"/>
          <ac:spMkLst>
            <pc:docMk/>
            <pc:sldMk cId="2450036879" sldId="324"/>
            <ac:spMk id="2" creationId="{8549F38A-2811-8A0A-0903-F90C6CA9F351}"/>
          </ac:spMkLst>
        </pc:spChg>
        <pc:spChg chg="del mod">
          <ac:chgData name="Guest User" userId="S::urn:spo:anon#5c1cd7b39cb30a75ca1cea0fb2ba435992d6c6a6b484349a9ca7505025227c67::" providerId="AD" clId="Web-{1D1D411A-8275-DB23-6E41-6CDACB55E66B}" dt="2022-07-12T11:25:16.302" v="323"/>
          <ac:spMkLst>
            <pc:docMk/>
            <pc:sldMk cId="2450036879" sldId="324"/>
            <ac:spMk id="3" creationId="{27781D9B-4A2E-A492-48D7-E91B5EEF025A}"/>
          </ac:spMkLst>
        </pc:spChg>
        <pc:graphicFrameChg chg="add del mod">
          <ac:chgData name="Guest User" userId="S::urn:spo:anon#5c1cd7b39cb30a75ca1cea0fb2ba435992d6c6a6b484349a9ca7505025227c67::" providerId="AD" clId="Web-{1D1D411A-8275-DB23-6E41-6CDACB55E66B}" dt="2022-07-12T11:25:12.989" v="322"/>
          <ac:graphicFrameMkLst>
            <pc:docMk/>
            <pc:sldMk cId="2450036879" sldId="324"/>
            <ac:graphicFrameMk id="5" creationId="{235567B3-9644-EAA5-50F2-FD680E95E406}"/>
          </ac:graphicFrameMkLst>
        </pc:graphicFrameChg>
        <pc:graphicFrameChg chg="add mod modGraphic">
          <ac:chgData name="Guest User" userId="S::urn:spo:anon#5c1cd7b39cb30a75ca1cea0fb2ba435992d6c6a6b484349a9ca7505025227c67::" providerId="AD" clId="Web-{1D1D411A-8275-DB23-6E41-6CDACB55E66B}" dt="2022-07-12T11:43:11.363" v="591"/>
          <ac:graphicFrameMkLst>
            <pc:docMk/>
            <pc:sldMk cId="2450036879" sldId="324"/>
            <ac:graphicFrameMk id="7" creationId="{21663884-8A5D-DD9A-B4F0-E1EED248AA0D}"/>
          </ac:graphicFrameMkLst>
        </pc:graphicFrameChg>
      </pc:sldChg>
    </pc:docChg>
  </pc:docChgLst>
  <pc:docChgLst>
    <pc:chgData name="Frances Meek" userId="f3af35cc-3229-46e1-af36-3525661cfbd3" providerId="ADAL" clId="{F376D9DA-E273-402F-88CD-58A52DBC3E00}"/>
    <pc:docChg chg="undo custSel addSld modSld">
      <pc:chgData name="Frances Meek" userId="f3af35cc-3229-46e1-af36-3525661cfbd3" providerId="ADAL" clId="{F376D9DA-E273-402F-88CD-58A52DBC3E00}" dt="2022-06-01T15:16:05.399" v="1199" actId="2711"/>
      <pc:docMkLst>
        <pc:docMk/>
      </pc:docMkLst>
      <pc:sldChg chg="modSp mod">
        <pc:chgData name="Frances Meek" userId="f3af35cc-3229-46e1-af36-3525661cfbd3" providerId="ADAL" clId="{F376D9DA-E273-402F-88CD-58A52DBC3E00}" dt="2022-05-24T12:40:31.101" v="6" actId="313"/>
        <pc:sldMkLst>
          <pc:docMk/>
          <pc:sldMk cId="1199664204" sldId="263"/>
        </pc:sldMkLst>
        <pc:spChg chg="mod">
          <ac:chgData name="Frances Meek" userId="f3af35cc-3229-46e1-af36-3525661cfbd3" providerId="ADAL" clId="{F376D9DA-E273-402F-88CD-58A52DBC3E00}" dt="2022-05-24T12:40:31.101" v="6" actId="313"/>
          <ac:spMkLst>
            <pc:docMk/>
            <pc:sldMk cId="1199664204" sldId="263"/>
            <ac:spMk id="2" creationId="{44734D3D-C20B-4ED7-8C51-1867D1A26058}"/>
          </ac:spMkLst>
        </pc:spChg>
      </pc:sldChg>
      <pc:sldChg chg="addCm">
        <pc:chgData name="Frances Meek" userId="f3af35cc-3229-46e1-af36-3525661cfbd3" providerId="ADAL" clId="{F376D9DA-E273-402F-88CD-58A52DBC3E00}" dt="2022-05-24T12:41:17.847" v="7"/>
        <pc:sldMkLst>
          <pc:docMk/>
          <pc:sldMk cId="3993973292" sldId="274"/>
        </pc:sldMkLst>
      </pc:sldChg>
      <pc:sldChg chg="modSp mod">
        <pc:chgData name="Frances Meek" userId="f3af35cc-3229-46e1-af36-3525661cfbd3" providerId="ADAL" clId="{F376D9DA-E273-402F-88CD-58A52DBC3E00}" dt="2022-06-01T13:58:56.279" v="543" actId="20577"/>
        <pc:sldMkLst>
          <pc:docMk/>
          <pc:sldMk cId="3137792006" sldId="277"/>
        </pc:sldMkLst>
        <pc:spChg chg="mod">
          <ac:chgData name="Frances Meek" userId="f3af35cc-3229-46e1-af36-3525661cfbd3" providerId="ADAL" clId="{F376D9DA-E273-402F-88CD-58A52DBC3E00}" dt="2022-06-01T13:58:56.279" v="543" actId="20577"/>
          <ac:spMkLst>
            <pc:docMk/>
            <pc:sldMk cId="3137792006" sldId="277"/>
            <ac:spMk id="7" creationId="{1B259F73-E87B-42C3-9AC3-9D81F3D3C48B}"/>
          </ac:spMkLst>
        </pc:spChg>
      </pc:sldChg>
      <pc:sldChg chg="modSp mod">
        <pc:chgData name="Frances Meek" userId="f3af35cc-3229-46e1-af36-3525661cfbd3" providerId="ADAL" clId="{F376D9DA-E273-402F-88CD-58A52DBC3E00}" dt="2022-05-24T12:38:32.678" v="1" actId="20577"/>
        <pc:sldMkLst>
          <pc:docMk/>
          <pc:sldMk cId="1351839580" sldId="294"/>
        </pc:sldMkLst>
        <pc:spChg chg="mod">
          <ac:chgData name="Frances Meek" userId="f3af35cc-3229-46e1-af36-3525661cfbd3" providerId="ADAL" clId="{F376D9DA-E273-402F-88CD-58A52DBC3E00}" dt="2022-05-24T12:38:32.678" v="1" actId="20577"/>
          <ac:spMkLst>
            <pc:docMk/>
            <pc:sldMk cId="1351839580" sldId="294"/>
            <ac:spMk id="7" creationId="{9F5610B5-B857-41E6-8A9E-1F8B928123A4}"/>
          </ac:spMkLst>
        </pc:spChg>
      </pc:sldChg>
      <pc:sldChg chg="addSp delSp modSp mod">
        <pc:chgData name="Frances Meek" userId="f3af35cc-3229-46e1-af36-3525661cfbd3" providerId="ADAL" clId="{F376D9DA-E273-402F-88CD-58A52DBC3E00}" dt="2022-06-01T15:15:09.763" v="1198" actId="20577"/>
        <pc:sldMkLst>
          <pc:docMk/>
          <pc:sldMk cId="2939916080" sldId="299"/>
        </pc:sldMkLst>
        <pc:spChg chg="mod">
          <ac:chgData name="Frances Meek" userId="f3af35cc-3229-46e1-af36-3525661cfbd3" providerId="ADAL" clId="{F376D9DA-E273-402F-88CD-58A52DBC3E00}" dt="2022-06-01T15:15:09.763" v="1198" actId="20577"/>
          <ac:spMkLst>
            <pc:docMk/>
            <pc:sldMk cId="2939916080" sldId="299"/>
            <ac:spMk id="3" creationId="{00000000-0000-0000-0000-000000000000}"/>
          </ac:spMkLst>
        </pc:spChg>
        <pc:spChg chg="add del mod">
          <ac:chgData name="Frances Meek" userId="f3af35cc-3229-46e1-af36-3525661cfbd3" providerId="ADAL" clId="{F376D9DA-E273-402F-88CD-58A52DBC3E00}" dt="2022-06-01T14:21:55.602" v="973" actId="767"/>
          <ac:spMkLst>
            <pc:docMk/>
            <pc:sldMk cId="2939916080" sldId="299"/>
            <ac:spMk id="4" creationId="{BFC55DC0-B659-EFFD-5A51-6A2231B6767A}"/>
          </ac:spMkLst>
        </pc:spChg>
        <pc:spChg chg="mod">
          <ac:chgData name="Frances Meek" userId="f3af35cc-3229-46e1-af36-3525661cfbd3" providerId="ADAL" clId="{F376D9DA-E273-402F-88CD-58A52DBC3E00}" dt="2022-06-01T14:21:57.794" v="977" actId="14100"/>
          <ac:spMkLst>
            <pc:docMk/>
            <pc:sldMk cId="2939916080" sldId="299"/>
            <ac:spMk id="9" creationId="{90AD5823-4F3E-4ABB-A30E-D01E6F661D32}"/>
          </ac:spMkLst>
        </pc:spChg>
        <pc:picChg chg="mod">
          <ac:chgData name="Frances Meek" userId="f3af35cc-3229-46e1-af36-3525661cfbd3" providerId="ADAL" clId="{F376D9DA-E273-402F-88CD-58A52DBC3E00}" dt="2022-06-01T14:21:57.794" v="977" actId="14100"/>
          <ac:picMkLst>
            <pc:docMk/>
            <pc:sldMk cId="2939916080" sldId="299"/>
            <ac:picMk id="6" creationId="{C0FE8D37-3213-4315-AF72-2D59BD6E86A1}"/>
          </ac:picMkLst>
        </pc:picChg>
        <pc:picChg chg="mod">
          <ac:chgData name="Frances Meek" userId="f3af35cc-3229-46e1-af36-3525661cfbd3" providerId="ADAL" clId="{F376D9DA-E273-402F-88CD-58A52DBC3E00}" dt="2022-06-01T14:21:56.129" v="974" actId="1076"/>
          <ac:picMkLst>
            <pc:docMk/>
            <pc:sldMk cId="2939916080" sldId="299"/>
            <ac:picMk id="8" creationId="{429738C1-FBF9-4D65-81AD-6466098FBB67}"/>
          </ac:picMkLst>
        </pc:picChg>
      </pc:sldChg>
      <pc:sldChg chg="modSp mod">
        <pc:chgData name="Frances Meek" userId="f3af35cc-3229-46e1-af36-3525661cfbd3" providerId="ADAL" clId="{F376D9DA-E273-402F-88CD-58A52DBC3E00}" dt="2022-06-01T13:09:35.363" v="252" actId="14100"/>
        <pc:sldMkLst>
          <pc:docMk/>
          <pc:sldMk cId="4146092675" sldId="301"/>
        </pc:sldMkLst>
        <pc:spChg chg="mod">
          <ac:chgData name="Frances Meek" userId="f3af35cc-3229-46e1-af36-3525661cfbd3" providerId="ADAL" clId="{F376D9DA-E273-402F-88CD-58A52DBC3E00}" dt="2022-06-01T13:09:35.363" v="252" actId="14100"/>
          <ac:spMkLst>
            <pc:docMk/>
            <pc:sldMk cId="4146092675" sldId="301"/>
            <ac:spMk id="4" creationId="{AD0D0778-949E-4414-BC9B-77E033DFFAA2}"/>
          </ac:spMkLst>
        </pc:spChg>
      </pc:sldChg>
      <pc:sldChg chg="modSp mod">
        <pc:chgData name="Frances Meek" userId="f3af35cc-3229-46e1-af36-3525661cfbd3" providerId="ADAL" clId="{F376D9DA-E273-402F-88CD-58A52DBC3E00}" dt="2022-06-01T13:07:22.037" v="233" actId="20577"/>
        <pc:sldMkLst>
          <pc:docMk/>
          <pc:sldMk cId="1274149409" sldId="302"/>
        </pc:sldMkLst>
        <pc:spChg chg="mod">
          <ac:chgData name="Frances Meek" userId="f3af35cc-3229-46e1-af36-3525661cfbd3" providerId="ADAL" clId="{F376D9DA-E273-402F-88CD-58A52DBC3E00}" dt="2022-06-01T13:07:22.037" v="233" actId="20577"/>
          <ac:spMkLst>
            <pc:docMk/>
            <pc:sldMk cId="1274149409" sldId="302"/>
            <ac:spMk id="3" creationId="{00000000-0000-0000-0000-000000000000}"/>
          </ac:spMkLst>
        </pc:spChg>
      </pc:sldChg>
      <pc:sldChg chg="modSp mod">
        <pc:chgData name="Frances Meek" userId="f3af35cc-3229-46e1-af36-3525661cfbd3" providerId="ADAL" clId="{F376D9DA-E273-402F-88CD-58A52DBC3E00}" dt="2022-06-01T13:10:36.228" v="266" actId="20577"/>
        <pc:sldMkLst>
          <pc:docMk/>
          <pc:sldMk cId="1245899220" sldId="305"/>
        </pc:sldMkLst>
        <pc:spChg chg="mod">
          <ac:chgData name="Frances Meek" userId="f3af35cc-3229-46e1-af36-3525661cfbd3" providerId="ADAL" clId="{F376D9DA-E273-402F-88CD-58A52DBC3E00}" dt="2022-06-01T13:10:18.608" v="263" actId="20577"/>
          <ac:spMkLst>
            <pc:docMk/>
            <pc:sldMk cId="1245899220" sldId="305"/>
            <ac:spMk id="2" creationId="{00000000-0000-0000-0000-000000000000}"/>
          </ac:spMkLst>
        </pc:spChg>
        <pc:spChg chg="mod">
          <ac:chgData name="Frances Meek" userId="f3af35cc-3229-46e1-af36-3525661cfbd3" providerId="ADAL" clId="{F376D9DA-E273-402F-88CD-58A52DBC3E00}" dt="2022-06-01T13:10:36.228" v="266" actId="20577"/>
          <ac:spMkLst>
            <pc:docMk/>
            <pc:sldMk cId="1245899220" sldId="305"/>
            <ac:spMk id="3" creationId="{00000000-0000-0000-0000-000000000000}"/>
          </ac:spMkLst>
        </pc:spChg>
      </pc:sldChg>
      <pc:sldChg chg="modSp mod">
        <pc:chgData name="Frances Meek" userId="f3af35cc-3229-46e1-af36-3525661cfbd3" providerId="ADAL" clId="{F376D9DA-E273-402F-88CD-58A52DBC3E00}" dt="2022-06-01T13:01:57.079" v="152" actId="20577"/>
        <pc:sldMkLst>
          <pc:docMk/>
          <pc:sldMk cId="639185947" sldId="307"/>
        </pc:sldMkLst>
        <pc:spChg chg="mod">
          <ac:chgData name="Frances Meek" userId="f3af35cc-3229-46e1-af36-3525661cfbd3" providerId="ADAL" clId="{F376D9DA-E273-402F-88CD-58A52DBC3E00}" dt="2022-06-01T13:01:57.079" v="152" actId="20577"/>
          <ac:spMkLst>
            <pc:docMk/>
            <pc:sldMk cId="639185947" sldId="307"/>
            <ac:spMk id="6" creationId="{7E139491-A1F9-446A-A962-D8D49EB08F00}"/>
          </ac:spMkLst>
        </pc:spChg>
      </pc:sldChg>
      <pc:sldChg chg="addSp delSp modSp mod addCm delCm modCm">
        <pc:chgData name="Frances Meek" userId="f3af35cc-3229-46e1-af36-3525661cfbd3" providerId="ADAL" clId="{F376D9DA-E273-402F-88CD-58A52DBC3E00}" dt="2022-06-01T15:13:15.812" v="1168" actId="1076"/>
        <pc:sldMkLst>
          <pc:docMk/>
          <pc:sldMk cId="3979226011" sldId="308"/>
        </pc:sldMkLst>
        <pc:spChg chg="del">
          <ac:chgData name="Frances Meek" userId="f3af35cc-3229-46e1-af36-3525661cfbd3" providerId="ADAL" clId="{F376D9DA-E273-402F-88CD-58A52DBC3E00}" dt="2022-05-24T12:46:52.105" v="63" actId="478"/>
          <ac:spMkLst>
            <pc:docMk/>
            <pc:sldMk cId="3979226011" sldId="308"/>
            <ac:spMk id="8" creationId="{0F2489E1-C2AE-3ABA-965B-5CA4D65EFE76}"/>
          </ac:spMkLst>
        </pc:spChg>
        <pc:picChg chg="del">
          <ac:chgData name="Frances Meek" userId="f3af35cc-3229-46e1-af36-3525661cfbd3" providerId="ADAL" clId="{F376D9DA-E273-402F-88CD-58A52DBC3E00}" dt="2022-05-24T12:46:49.917" v="62" actId="478"/>
          <ac:picMkLst>
            <pc:docMk/>
            <pc:sldMk cId="3979226011" sldId="308"/>
            <ac:picMk id="3" creationId="{36B241DE-A7A3-2915-85B7-D8CA62B51D54}"/>
          </ac:picMkLst>
        </pc:picChg>
        <pc:picChg chg="mod">
          <ac:chgData name="Frances Meek" userId="f3af35cc-3229-46e1-af36-3525661cfbd3" providerId="ADAL" clId="{F376D9DA-E273-402F-88CD-58A52DBC3E00}" dt="2022-05-24T12:49:57.233" v="80" actId="1076"/>
          <ac:picMkLst>
            <pc:docMk/>
            <pc:sldMk cId="3979226011" sldId="308"/>
            <ac:picMk id="5" creationId="{9F319B15-F7C6-4A47-9199-60BCC6831A22}"/>
          </ac:picMkLst>
        </pc:picChg>
        <pc:picChg chg="mod">
          <ac:chgData name="Frances Meek" userId="f3af35cc-3229-46e1-af36-3525661cfbd3" providerId="ADAL" clId="{F376D9DA-E273-402F-88CD-58A52DBC3E00}" dt="2022-06-01T15:13:03.960" v="1163" actId="1076"/>
          <ac:picMkLst>
            <pc:docMk/>
            <pc:sldMk cId="3979226011" sldId="308"/>
            <ac:picMk id="6" creationId="{B003AB75-540C-419A-A73D-D842D8C487DD}"/>
          </ac:picMkLst>
        </pc:picChg>
        <pc:picChg chg="mod">
          <ac:chgData name="Frances Meek" userId="f3af35cc-3229-46e1-af36-3525661cfbd3" providerId="ADAL" clId="{F376D9DA-E273-402F-88CD-58A52DBC3E00}" dt="2022-06-01T15:13:15.812" v="1168" actId="1076"/>
          <ac:picMkLst>
            <pc:docMk/>
            <pc:sldMk cId="3979226011" sldId="308"/>
            <ac:picMk id="8" creationId="{17048F22-2837-4579-85F3-124B471098F8}"/>
          </ac:picMkLst>
        </pc:picChg>
        <pc:picChg chg="mod">
          <ac:chgData name="Frances Meek" userId="f3af35cc-3229-46e1-af36-3525661cfbd3" providerId="ADAL" clId="{F376D9DA-E273-402F-88CD-58A52DBC3E00}" dt="2022-06-01T14:03:22.103" v="556" actId="1076"/>
          <ac:picMkLst>
            <pc:docMk/>
            <pc:sldMk cId="3979226011" sldId="308"/>
            <ac:picMk id="9" creationId="{4D8FF41C-D09E-454C-ADD3-C636F509A25D}"/>
          </ac:picMkLst>
        </pc:picChg>
        <pc:picChg chg="add mod">
          <ac:chgData name="Frances Meek" userId="f3af35cc-3229-46e1-af36-3525661cfbd3" providerId="ADAL" clId="{F376D9DA-E273-402F-88CD-58A52DBC3E00}" dt="2022-06-01T15:13:06.324" v="1165" actId="1076"/>
          <ac:picMkLst>
            <pc:docMk/>
            <pc:sldMk cId="3979226011" sldId="308"/>
            <ac:picMk id="10" creationId="{8E0243E2-491B-B364-6B2B-E7DE675C15CB}"/>
          </ac:picMkLst>
        </pc:picChg>
        <pc:picChg chg="mod">
          <ac:chgData name="Frances Meek" userId="f3af35cc-3229-46e1-af36-3525661cfbd3" providerId="ADAL" clId="{F376D9DA-E273-402F-88CD-58A52DBC3E00}" dt="2022-06-01T14:03:20.811" v="555" actId="1076"/>
          <ac:picMkLst>
            <pc:docMk/>
            <pc:sldMk cId="3979226011" sldId="308"/>
            <ac:picMk id="11" creationId="{AE9A2AA5-8E19-40AB-ABB4-6C69C4410945}"/>
          </ac:picMkLst>
        </pc:picChg>
        <pc:picChg chg="add mod">
          <ac:chgData name="Frances Meek" userId="f3af35cc-3229-46e1-af36-3525661cfbd3" providerId="ADAL" clId="{F376D9DA-E273-402F-88CD-58A52DBC3E00}" dt="2022-05-24T12:47:00.344" v="69" actId="27614"/>
          <ac:picMkLst>
            <pc:docMk/>
            <pc:sldMk cId="3979226011" sldId="308"/>
            <ac:picMk id="12" creationId="{66F4C863-84B1-C42A-380F-A3318D212C25}"/>
          </ac:picMkLst>
        </pc:picChg>
        <pc:picChg chg="add del mod">
          <ac:chgData name="Frances Meek" userId="f3af35cc-3229-46e1-af36-3525661cfbd3" providerId="ADAL" clId="{F376D9DA-E273-402F-88CD-58A52DBC3E00}" dt="2022-06-01T14:05:59.964" v="563" actId="478"/>
          <ac:picMkLst>
            <pc:docMk/>
            <pc:sldMk cId="3979226011" sldId="308"/>
            <ac:picMk id="12" creationId="{DA787EE0-8E52-7ECA-7400-99D186ACB45B}"/>
          </ac:picMkLst>
        </pc:picChg>
        <pc:picChg chg="del mod">
          <ac:chgData name="Frances Meek" userId="f3af35cc-3229-46e1-af36-3525661cfbd3" providerId="ADAL" clId="{F376D9DA-E273-402F-88CD-58A52DBC3E00}" dt="2022-05-24T12:49:59.403" v="82" actId="478"/>
          <ac:picMkLst>
            <pc:docMk/>
            <pc:sldMk cId="3979226011" sldId="308"/>
            <ac:picMk id="13" creationId="{C98459B9-D101-4824-BC52-A966CF3EC9B6}"/>
          </ac:picMkLst>
        </pc:picChg>
        <pc:picChg chg="add del mod">
          <ac:chgData name="Frances Meek" userId="f3af35cc-3229-46e1-af36-3525661cfbd3" providerId="ADAL" clId="{F376D9DA-E273-402F-88CD-58A52DBC3E00}" dt="2022-05-24T12:49:53.429" v="77" actId="478"/>
          <ac:picMkLst>
            <pc:docMk/>
            <pc:sldMk cId="3979226011" sldId="308"/>
            <ac:picMk id="15" creationId="{9211E749-6E6A-4B2D-BCB1-9D409C524537}"/>
          </ac:picMkLst>
        </pc:picChg>
        <pc:picChg chg="add mod">
          <ac:chgData name="Frances Meek" userId="f3af35cc-3229-46e1-af36-3525661cfbd3" providerId="ADAL" clId="{F376D9DA-E273-402F-88CD-58A52DBC3E00}" dt="2022-06-01T15:13:07.419" v="1166" actId="1076"/>
          <ac:picMkLst>
            <pc:docMk/>
            <pc:sldMk cId="3979226011" sldId="308"/>
            <ac:picMk id="17" creationId="{33310B10-D808-729E-7E59-6863FE4D1EA7}"/>
          </ac:picMkLst>
        </pc:picChg>
      </pc:sldChg>
      <pc:sldChg chg="modSp mod addCm modCm">
        <pc:chgData name="Frances Meek" userId="f3af35cc-3229-46e1-af36-3525661cfbd3" providerId="ADAL" clId="{F376D9DA-E273-402F-88CD-58A52DBC3E00}" dt="2022-06-01T13:05:49.006" v="229" actId="20577"/>
        <pc:sldMkLst>
          <pc:docMk/>
          <pc:sldMk cId="3837550476" sldId="309"/>
        </pc:sldMkLst>
        <pc:spChg chg="mod">
          <ac:chgData name="Frances Meek" userId="f3af35cc-3229-46e1-af36-3525661cfbd3" providerId="ADAL" clId="{F376D9DA-E273-402F-88CD-58A52DBC3E00}" dt="2022-06-01T13:05:49.006" v="229" actId="20577"/>
          <ac:spMkLst>
            <pc:docMk/>
            <pc:sldMk cId="3837550476" sldId="309"/>
            <ac:spMk id="4" creationId="{C5AED35D-F009-4C6C-BE74-11E7A80DDC36}"/>
          </ac:spMkLst>
        </pc:spChg>
      </pc:sldChg>
      <pc:sldChg chg="addSp modSp mod">
        <pc:chgData name="Frances Meek" userId="f3af35cc-3229-46e1-af36-3525661cfbd3" providerId="ADAL" clId="{F376D9DA-E273-402F-88CD-58A52DBC3E00}" dt="2022-06-01T14:17:16.444" v="812" actId="313"/>
        <pc:sldMkLst>
          <pc:docMk/>
          <pc:sldMk cId="3209739012" sldId="310"/>
        </pc:sldMkLst>
        <pc:spChg chg="add mod">
          <ac:chgData name="Frances Meek" userId="f3af35cc-3229-46e1-af36-3525661cfbd3" providerId="ADAL" clId="{F376D9DA-E273-402F-88CD-58A52DBC3E00}" dt="2022-06-01T14:17:16.444" v="812" actId="313"/>
          <ac:spMkLst>
            <pc:docMk/>
            <pc:sldMk cId="3209739012" sldId="310"/>
            <ac:spMk id="3" creationId="{82E1E8C1-13C2-39F4-CCF1-E26E44E671DB}"/>
          </ac:spMkLst>
        </pc:spChg>
        <pc:picChg chg="mod">
          <ac:chgData name="Frances Meek" userId="f3af35cc-3229-46e1-af36-3525661cfbd3" providerId="ADAL" clId="{F376D9DA-E273-402F-88CD-58A52DBC3E00}" dt="2022-06-01T14:16:37.518" v="716"/>
          <ac:picMkLst>
            <pc:docMk/>
            <pc:sldMk cId="3209739012" sldId="310"/>
            <ac:picMk id="5" creationId="{FA42C68B-E6E9-486C-8F93-455C9B1B04F2}"/>
          </ac:picMkLst>
        </pc:picChg>
      </pc:sldChg>
      <pc:sldChg chg="modSp mod">
        <pc:chgData name="Frances Meek" userId="f3af35cc-3229-46e1-af36-3525661cfbd3" providerId="ADAL" clId="{F376D9DA-E273-402F-88CD-58A52DBC3E00}" dt="2022-06-01T13:03:13.892" v="219" actId="20577"/>
        <pc:sldMkLst>
          <pc:docMk/>
          <pc:sldMk cId="1959855485" sldId="311"/>
        </pc:sldMkLst>
        <pc:spChg chg="mod">
          <ac:chgData name="Frances Meek" userId="f3af35cc-3229-46e1-af36-3525661cfbd3" providerId="ADAL" clId="{F376D9DA-E273-402F-88CD-58A52DBC3E00}" dt="2022-06-01T13:03:13.892" v="219" actId="20577"/>
          <ac:spMkLst>
            <pc:docMk/>
            <pc:sldMk cId="1959855485" sldId="311"/>
            <ac:spMk id="4" creationId="{C5AED35D-F009-4C6C-BE74-11E7A80DDC36}"/>
          </ac:spMkLst>
        </pc:spChg>
      </pc:sldChg>
      <pc:sldChg chg="modSp mod">
        <pc:chgData name="Frances Meek" userId="f3af35cc-3229-46e1-af36-3525661cfbd3" providerId="ADAL" clId="{F376D9DA-E273-402F-88CD-58A52DBC3E00}" dt="2022-06-01T13:11:52.256" v="276" actId="20577"/>
        <pc:sldMkLst>
          <pc:docMk/>
          <pc:sldMk cId="4248556420" sldId="314"/>
        </pc:sldMkLst>
        <pc:spChg chg="mod">
          <ac:chgData name="Frances Meek" userId="f3af35cc-3229-46e1-af36-3525661cfbd3" providerId="ADAL" clId="{F376D9DA-E273-402F-88CD-58A52DBC3E00}" dt="2022-06-01T13:11:52.256" v="276" actId="20577"/>
          <ac:spMkLst>
            <pc:docMk/>
            <pc:sldMk cId="4248556420" sldId="314"/>
            <ac:spMk id="3" creationId="{96959814-9071-EAE4-F7AC-76E25031DC00}"/>
          </ac:spMkLst>
        </pc:spChg>
      </pc:sldChg>
      <pc:sldChg chg="modSp mod">
        <pc:chgData name="Frances Meek" userId="f3af35cc-3229-46e1-af36-3525661cfbd3" providerId="ADAL" clId="{F376D9DA-E273-402F-88CD-58A52DBC3E00}" dt="2022-06-01T13:13:21.582" v="278" actId="20577"/>
        <pc:sldMkLst>
          <pc:docMk/>
          <pc:sldMk cId="1627569597" sldId="315"/>
        </pc:sldMkLst>
        <pc:spChg chg="mod">
          <ac:chgData name="Frances Meek" userId="f3af35cc-3229-46e1-af36-3525661cfbd3" providerId="ADAL" clId="{F376D9DA-E273-402F-88CD-58A52DBC3E00}" dt="2022-06-01T13:13:21.582" v="278" actId="20577"/>
          <ac:spMkLst>
            <pc:docMk/>
            <pc:sldMk cId="1627569597" sldId="315"/>
            <ac:spMk id="3" creationId="{78101E67-B0F1-726C-7F13-95384EA7B94E}"/>
          </ac:spMkLst>
        </pc:spChg>
      </pc:sldChg>
      <pc:sldChg chg="addSp modSp mod">
        <pc:chgData name="Frances Meek" userId="f3af35cc-3229-46e1-af36-3525661cfbd3" providerId="ADAL" clId="{F376D9DA-E273-402F-88CD-58A52DBC3E00}" dt="2022-06-01T13:51:27.934" v="361" actId="255"/>
        <pc:sldMkLst>
          <pc:docMk/>
          <pc:sldMk cId="813545271" sldId="316"/>
        </pc:sldMkLst>
        <pc:spChg chg="mod">
          <ac:chgData name="Frances Meek" userId="f3af35cc-3229-46e1-af36-3525661cfbd3" providerId="ADAL" clId="{F376D9DA-E273-402F-88CD-58A52DBC3E00}" dt="2022-06-01T13:48:10.155" v="327" actId="20577"/>
          <ac:spMkLst>
            <pc:docMk/>
            <pc:sldMk cId="813545271" sldId="316"/>
            <ac:spMk id="4" creationId="{B951880E-2548-03FC-30F1-559F3B67733E}"/>
          </ac:spMkLst>
        </pc:spChg>
        <pc:spChg chg="add mod">
          <ac:chgData name="Frances Meek" userId="f3af35cc-3229-46e1-af36-3525661cfbd3" providerId="ADAL" clId="{F376D9DA-E273-402F-88CD-58A52DBC3E00}" dt="2022-06-01T13:51:27.934" v="361" actId="255"/>
          <ac:spMkLst>
            <pc:docMk/>
            <pc:sldMk cId="813545271" sldId="316"/>
            <ac:spMk id="5" creationId="{0410C826-2FD6-7E0F-5123-D40F86D424BC}"/>
          </ac:spMkLst>
        </pc:spChg>
      </pc:sldChg>
      <pc:sldChg chg="addSp delSp modSp mod">
        <pc:chgData name="Frances Meek" userId="f3af35cc-3229-46e1-af36-3525661cfbd3" providerId="ADAL" clId="{F376D9DA-E273-402F-88CD-58A52DBC3E00}" dt="2022-06-01T15:16:05.399" v="1199" actId="2711"/>
        <pc:sldMkLst>
          <pc:docMk/>
          <pc:sldMk cId="1986818962" sldId="317"/>
        </pc:sldMkLst>
        <pc:spChg chg="mod">
          <ac:chgData name="Frances Meek" userId="f3af35cc-3229-46e1-af36-3525661cfbd3" providerId="ADAL" clId="{F376D9DA-E273-402F-88CD-58A52DBC3E00}" dt="2022-06-01T14:09:27.122" v="667" actId="20577"/>
          <ac:spMkLst>
            <pc:docMk/>
            <pc:sldMk cId="1986818962" sldId="317"/>
            <ac:spMk id="2" creationId="{0087FBAB-EC07-CF2D-1C34-B286203D1DEB}"/>
          </ac:spMkLst>
        </pc:spChg>
        <pc:spChg chg="mod">
          <ac:chgData name="Frances Meek" userId="f3af35cc-3229-46e1-af36-3525661cfbd3" providerId="ADAL" clId="{F376D9DA-E273-402F-88CD-58A52DBC3E00}" dt="2022-06-01T15:16:05.399" v="1199" actId="2711"/>
          <ac:spMkLst>
            <pc:docMk/>
            <pc:sldMk cId="1986818962" sldId="317"/>
            <ac:spMk id="3" creationId="{F542AE94-456A-179B-63E4-5401D70ED4F9}"/>
          </ac:spMkLst>
        </pc:spChg>
        <pc:spChg chg="add del mod">
          <ac:chgData name="Frances Meek" userId="f3af35cc-3229-46e1-af36-3525661cfbd3" providerId="ADAL" clId="{F376D9DA-E273-402F-88CD-58A52DBC3E00}" dt="2022-06-01T14:29:46.780" v="1152" actId="21"/>
          <ac:spMkLst>
            <pc:docMk/>
            <pc:sldMk cId="1986818962" sldId="317"/>
            <ac:spMk id="4" creationId="{5D1D8E2A-5FDB-0B56-2B18-51010DF9D2D5}"/>
          </ac:spMkLst>
        </pc:spChg>
      </pc:sldChg>
      <pc:sldChg chg="modSp mod">
        <pc:chgData name="Frances Meek" userId="f3af35cc-3229-46e1-af36-3525661cfbd3" providerId="ADAL" clId="{F376D9DA-E273-402F-88CD-58A52DBC3E00}" dt="2022-06-01T13:00:42.460" v="111" actId="20577"/>
        <pc:sldMkLst>
          <pc:docMk/>
          <pc:sldMk cId="2671712240" sldId="318"/>
        </pc:sldMkLst>
        <pc:spChg chg="mod">
          <ac:chgData name="Frances Meek" userId="f3af35cc-3229-46e1-af36-3525661cfbd3" providerId="ADAL" clId="{F376D9DA-E273-402F-88CD-58A52DBC3E00}" dt="2022-06-01T13:00:42.460" v="111" actId="20577"/>
          <ac:spMkLst>
            <pc:docMk/>
            <pc:sldMk cId="2671712240" sldId="318"/>
            <ac:spMk id="3" creationId="{96959814-9071-EAE4-F7AC-76E25031DC00}"/>
          </ac:spMkLst>
        </pc:spChg>
      </pc:sldChg>
      <pc:sldChg chg="addSp modSp new mod">
        <pc:chgData name="Frances Meek" userId="f3af35cc-3229-46e1-af36-3525661cfbd3" providerId="ADAL" clId="{F376D9DA-E273-402F-88CD-58A52DBC3E00}" dt="2022-06-01T14:29:59.602" v="1161" actId="1076"/>
        <pc:sldMkLst>
          <pc:docMk/>
          <pc:sldMk cId="3337580201" sldId="319"/>
        </pc:sldMkLst>
        <pc:spChg chg="mod">
          <ac:chgData name="Frances Meek" userId="f3af35cc-3229-46e1-af36-3525661cfbd3" providerId="ADAL" clId="{F376D9DA-E273-402F-88CD-58A52DBC3E00}" dt="2022-06-01T14:19:58.914" v="961" actId="20577"/>
          <ac:spMkLst>
            <pc:docMk/>
            <pc:sldMk cId="3337580201" sldId="319"/>
            <ac:spMk id="2" creationId="{C5DC93FD-060A-E5B0-14CB-46A1A8AD58A8}"/>
          </ac:spMkLst>
        </pc:spChg>
        <pc:spChg chg="mod">
          <ac:chgData name="Frances Meek" userId="f3af35cc-3229-46e1-af36-3525661cfbd3" providerId="ADAL" clId="{F376D9DA-E273-402F-88CD-58A52DBC3E00}" dt="2022-06-01T14:29:51.682" v="1159" actId="5793"/>
          <ac:spMkLst>
            <pc:docMk/>
            <pc:sldMk cId="3337580201" sldId="319"/>
            <ac:spMk id="3" creationId="{EAD87E05-4B49-E732-779C-2064CC31FDEE}"/>
          </ac:spMkLst>
        </pc:spChg>
        <pc:spChg chg="add mod">
          <ac:chgData name="Frances Meek" userId="f3af35cc-3229-46e1-af36-3525661cfbd3" providerId="ADAL" clId="{F376D9DA-E273-402F-88CD-58A52DBC3E00}" dt="2022-06-01T14:29:59.602" v="1161" actId="1076"/>
          <ac:spMkLst>
            <pc:docMk/>
            <pc:sldMk cId="3337580201" sldId="319"/>
            <ac:spMk id="4" creationId="{4BD27418-D102-177E-7D37-B63466912C75}"/>
          </ac:spMkLst>
        </pc:spChg>
      </pc:sldChg>
      <pc:sldChg chg="modSp add mod">
        <pc:chgData name="Frances Meek" userId="f3af35cc-3229-46e1-af36-3525661cfbd3" providerId="ADAL" clId="{F376D9DA-E273-402F-88CD-58A52DBC3E00}" dt="2022-06-01T14:27:32.299" v="1018" actId="114"/>
        <pc:sldMkLst>
          <pc:docMk/>
          <pc:sldMk cId="3438535452" sldId="320"/>
        </pc:sldMkLst>
        <pc:spChg chg="mod">
          <ac:chgData name="Frances Meek" userId="f3af35cc-3229-46e1-af36-3525661cfbd3" providerId="ADAL" clId="{F376D9DA-E273-402F-88CD-58A52DBC3E00}" dt="2022-06-01T14:27:32.299" v="1018" actId="114"/>
          <ac:spMkLst>
            <pc:docMk/>
            <pc:sldMk cId="3438535452" sldId="320"/>
            <ac:spMk id="3" creationId="{F542AE94-456A-179B-63E4-5401D70ED4F9}"/>
          </ac:spMkLst>
        </pc:spChg>
      </pc:sldChg>
      <pc:sldChg chg="modSp mod">
        <pc:chgData name="Frances Meek" userId="f3af35cc-3229-46e1-af36-3525661cfbd3" providerId="ADAL" clId="{F376D9DA-E273-402F-88CD-58A52DBC3E00}" dt="2022-06-01T15:11:49.524" v="1162" actId="20577"/>
        <pc:sldMkLst>
          <pc:docMk/>
          <pc:sldMk cId="3997623350" sldId="322"/>
        </pc:sldMkLst>
        <pc:spChg chg="mod">
          <ac:chgData name="Frances Meek" userId="f3af35cc-3229-46e1-af36-3525661cfbd3" providerId="ADAL" clId="{F376D9DA-E273-402F-88CD-58A52DBC3E00}" dt="2022-06-01T15:11:49.524" v="1162" actId="20577"/>
          <ac:spMkLst>
            <pc:docMk/>
            <pc:sldMk cId="3997623350" sldId="322"/>
            <ac:spMk id="26" creationId="{D4D2C9E5-41BE-494E-84A0-DC1FB2634DAF}"/>
          </ac:spMkLst>
        </pc:spChg>
      </pc:sldChg>
    </pc:docChg>
  </pc:docChgLst>
  <pc:docChgLst>
    <pc:chgData name="Frances Meek" userId="f3af35cc-3229-46e1-af36-3525661cfbd3" providerId="ADAL" clId="{A6817BFB-24A8-414D-9EC0-11B69466F292}"/>
    <pc:docChg chg="custSel modSld">
      <pc:chgData name="Frances Meek" userId="f3af35cc-3229-46e1-af36-3525661cfbd3" providerId="ADAL" clId="{A6817BFB-24A8-414D-9EC0-11B69466F292}" dt="2022-06-10T12:55:17.560" v="2" actId="478"/>
      <pc:docMkLst>
        <pc:docMk/>
      </pc:docMkLst>
      <pc:sldChg chg="modSp mod">
        <pc:chgData name="Frances Meek" userId="f3af35cc-3229-46e1-af36-3525661cfbd3" providerId="ADAL" clId="{A6817BFB-24A8-414D-9EC0-11B69466F292}" dt="2022-06-10T12:54:17.694" v="0" actId="113"/>
        <pc:sldMkLst>
          <pc:docMk/>
          <pc:sldMk cId="3979226011" sldId="308"/>
        </pc:sldMkLst>
        <pc:spChg chg="mod">
          <ac:chgData name="Frances Meek" userId="f3af35cc-3229-46e1-af36-3525661cfbd3" providerId="ADAL" clId="{A6817BFB-24A8-414D-9EC0-11B69466F292}" dt="2022-06-10T12:54:17.694" v="0" actId="113"/>
          <ac:spMkLst>
            <pc:docMk/>
            <pc:sldMk cId="3979226011" sldId="308"/>
            <ac:spMk id="15" creationId="{35AD8946-B44D-4839-A63C-03F79AF49D71}"/>
          </ac:spMkLst>
        </pc:spChg>
      </pc:sldChg>
      <pc:sldChg chg="delSp modSp mod">
        <pc:chgData name="Frances Meek" userId="f3af35cc-3229-46e1-af36-3525661cfbd3" providerId="ADAL" clId="{A6817BFB-24A8-414D-9EC0-11B69466F292}" dt="2022-06-10T12:55:17.560" v="2" actId="478"/>
        <pc:sldMkLst>
          <pc:docMk/>
          <pc:sldMk cId="813545271" sldId="316"/>
        </pc:sldMkLst>
        <pc:spChg chg="del mod">
          <ac:chgData name="Frances Meek" userId="f3af35cc-3229-46e1-af36-3525661cfbd3" providerId="ADAL" clId="{A6817BFB-24A8-414D-9EC0-11B69466F292}" dt="2022-06-10T12:55:17.560" v="2" actId="478"/>
          <ac:spMkLst>
            <pc:docMk/>
            <pc:sldMk cId="813545271" sldId="316"/>
            <ac:spMk id="4" creationId="{B951880E-2548-03FC-30F1-559F3B67733E}"/>
          </ac:spMkLst>
        </pc:spChg>
      </pc:sldChg>
    </pc:docChg>
  </pc:docChgLst>
  <pc:docChgLst>
    <pc:chgData name="Ewen Trafford" userId="e520b4bf-a196-48b7-bc10-b1590a457daa" providerId="ADAL" clId="{050F2901-02EA-4CCD-80E9-59020FB821DE}"/>
    <pc:docChg chg="undo custSel addSld modSld">
      <pc:chgData name="Ewen Trafford" userId="e520b4bf-a196-48b7-bc10-b1590a457daa" providerId="ADAL" clId="{050F2901-02EA-4CCD-80E9-59020FB821DE}" dt="2022-06-01T15:16:59.847" v="1789" actId="20577"/>
      <pc:docMkLst>
        <pc:docMk/>
      </pc:docMkLst>
      <pc:sldChg chg="modSp mod delCm modCm">
        <pc:chgData name="Ewen Trafford" userId="e520b4bf-a196-48b7-bc10-b1590a457daa" providerId="ADAL" clId="{050F2901-02EA-4CCD-80E9-59020FB821DE}" dt="2022-05-31T12:44:02.862" v="175"/>
        <pc:sldMkLst>
          <pc:docMk/>
          <pc:sldMk cId="3993973292" sldId="274"/>
        </pc:sldMkLst>
        <pc:spChg chg="mod">
          <ac:chgData name="Ewen Trafford" userId="e520b4bf-a196-48b7-bc10-b1590a457daa" providerId="ADAL" clId="{050F2901-02EA-4CCD-80E9-59020FB821DE}" dt="2022-05-31T12:43:59.654" v="174" actId="20577"/>
          <ac:spMkLst>
            <pc:docMk/>
            <pc:sldMk cId="3993973292" sldId="274"/>
            <ac:spMk id="3" creationId="{00000000-0000-0000-0000-000000000000}"/>
          </ac:spMkLst>
        </pc:spChg>
      </pc:sldChg>
      <pc:sldChg chg="addSp modSp mod">
        <pc:chgData name="Ewen Trafford" userId="e520b4bf-a196-48b7-bc10-b1590a457daa" providerId="ADAL" clId="{050F2901-02EA-4CCD-80E9-59020FB821DE}" dt="2022-06-01T13:16:59.655" v="671" actId="13926"/>
        <pc:sldMkLst>
          <pc:docMk/>
          <pc:sldMk cId="3137792006" sldId="277"/>
        </pc:sldMkLst>
        <pc:spChg chg="mod">
          <ac:chgData name="Ewen Trafford" userId="e520b4bf-a196-48b7-bc10-b1590a457daa" providerId="ADAL" clId="{050F2901-02EA-4CCD-80E9-59020FB821DE}" dt="2022-06-01T13:16:45.434" v="668" actId="20577"/>
          <ac:spMkLst>
            <pc:docMk/>
            <pc:sldMk cId="3137792006" sldId="277"/>
            <ac:spMk id="3" creationId="{00000000-0000-0000-0000-000000000000}"/>
          </ac:spMkLst>
        </pc:spChg>
        <pc:spChg chg="add mod">
          <ac:chgData name="Ewen Trafford" userId="e520b4bf-a196-48b7-bc10-b1590a457daa" providerId="ADAL" clId="{050F2901-02EA-4CCD-80E9-59020FB821DE}" dt="2022-06-01T13:16:59.655" v="671" actId="13926"/>
          <ac:spMkLst>
            <pc:docMk/>
            <pc:sldMk cId="3137792006" sldId="277"/>
            <ac:spMk id="7" creationId="{1B259F73-E87B-42C3-9AC3-9D81F3D3C48B}"/>
          </ac:spMkLst>
        </pc:spChg>
      </pc:sldChg>
      <pc:sldChg chg="addSp delSp modSp mod delCm">
        <pc:chgData name="Ewen Trafford" userId="e520b4bf-a196-48b7-bc10-b1590a457daa" providerId="ADAL" clId="{050F2901-02EA-4CCD-80E9-59020FB821DE}" dt="2022-05-31T12:41:16.765" v="15" actId="27614"/>
        <pc:sldMkLst>
          <pc:docMk/>
          <pc:sldMk cId="1351839580" sldId="294"/>
        </pc:sldMkLst>
        <pc:spChg chg="del">
          <ac:chgData name="Ewen Trafford" userId="e520b4bf-a196-48b7-bc10-b1590a457daa" providerId="ADAL" clId="{050F2901-02EA-4CCD-80E9-59020FB821DE}" dt="2022-05-31T12:41:03.064" v="11" actId="478"/>
          <ac:spMkLst>
            <pc:docMk/>
            <pc:sldMk cId="1351839580" sldId="294"/>
            <ac:spMk id="3" creationId="{CDDA6D2C-3FB8-7389-0564-F3A1F0EE7142}"/>
          </ac:spMkLst>
        </pc:spChg>
        <pc:picChg chg="add mod">
          <ac:chgData name="Ewen Trafford" userId="e520b4bf-a196-48b7-bc10-b1590a457daa" providerId="ADAL" clId="{050F2901-02EA-4CCD-80E9-59020FB821DE}" dt="2022-05-31T12:41:16.765" v="15" actId="27614"/>
          <ac:picMkLst>
            <pc:docMk/>
            <pc:sldMk cId="1351839580" sldId="294"/>
            <ac:picMk id="5" creationId="{09B8F994-D624-43CB-958F-E7CBDB4F4311}"/>
          </ac:picMkLst>
        </pc:picChg>
      </pc:sldChg>
      <pc:sldChg chg="modSp mod">
        <pc:chgData name="Ewen Trafford" userId="e520b4bf-a196-48b7-bc10-b1590a457daa" providerId="ADAL" clId="{050F2901-02EA-4CCD-80E9-59020FB821DE}" dt="2022-06-01T13:11:16.464" v="660" actId="1076"/>
        <pc:sldMkLst>
          <pc:docMk/>
          <pc:sldMk cId="1245899220" sldId="305"/>
        </pc:sldMkLst>
        <pc:picChg chg="mod">
          <ac:chgData name="Ewen Trafford" userId="e520b4bf-a196-48b7-bc10-b1590a457daa" providerId="ADAL" clId="{050F2901-02EA-4CCD-80E9-59020FB821DE}" dt="2022-06-01T13:11:16.464" v="660" actId="1076"/>
          <ac:picMkLst>
            <pc:docMk/>
            <pc:sldMk cId="1245899220" sldId="305"/>
            <ac:picMk id="9" creationId="{6B2C2443-1A77-46BF-B2F8-964EF726DF1E}"/>
          </ac:picMkLst>
        </pc:picChg>
      </pc:sldChg>
      <pc:sldChg chg="modSp mod">
        <pc:chgData name="Ewen Trafford" userId="e520b4bf-a196-48b7-bc10-b1590a457daa" providerId="ADAL" clId="{050F2901-02EA-4CCD-80E9-59020FB821DE}" dt="2022-05-31T12:42:20.566" v="167" actId="20577"/>
        <pc:sldMkLst>
          <pc:docMk/>
          <pc:sldMk cId="639185947" sldId="307"/>
        </pc:sldMkLst>
        <pc:spChg chg="mod">
          <ac:chgData name="Ewen Trafford" userId="e520b4bf-a196-48b7-bc10-b1590a457daa" providerId="ADAL" clId="{050F2901-02EA-4CCD-80E9-59020FB821DE}" dt="2022-05-31T12:42:20.566" v="167" actId="20577"/>
          <ac:spMkLst>
            <pc:docMk/>
            <pc:sldMk cId="639185947" sldId="307"/>
            <ac:spMk id="4" creationId="{DDDB30AC-431A-410C-94CB-E2E50716CA4B}"/>
          </ac:spMkLst>
        </pc:spChg>
      </pc:sldChg>
      <pc:sldChg chg="addSp delSp modSp mod delCm">
        <pc:chgData name="Ewen Trafford" userId="e520b4bf-a196-48b7-bc10-b1590a457daa" providerId="ADAL" clId="{050F2901-02EA-4CCD-80E9-59020FB821DE}" dt="2022-06-01T15:16:59.847" v="1789" actId="20577"/>
        <pc:sldMkLst>
          <pc:docMk/>
          <pc:sldMk cId="3979226011" sldId="308"/>
        </pc:sldMkLst>
        <pc:spChg chg="add mod">
          <ac:chgData name="Ewen Trafford" userId="e520b4bf-a196-48b7-bc10-b1590a457daa" providerId="ADAL" clId="{050F2901-02EA-4CCD-80E9-59020FB821DE}" dt="2022-06-01T15:15:21.589" v="1693" actId="1076"/>
          <ac:spMkLst>
            <pc:docMk/>
            <pc:sldMk cId="3979226011" sldId="308"/>
            <ac:spMk id="3" creationId="{FD97BFF1-3DDE-4420-9C57-A6A8B8D54BFD}"/>
          </ac:spMkLst>
        </pc:spChg>
        <pc:spChg chg="add mod">
          <ac:chgData name="Ewen Trafford" userId="e520b4bf-a196-48b7-bc10-b1590a457daa" providerId="ADAL" clId="{050F2901-02EA-4CCD-80E9-59020FB821DE}" dt="2022-06-01T15:15:39.980" v="1722" actId="14100"/>
          <ac:spMkLst>
            <pc:docMk/>
            <pc:sldMk cId="3979226011" sldId="308"/>
            <ac:spMk id="14" creationId="{22F26E73-EC43-4EFA-B9A0-C0898DD0364F}"/>
          </ac:spMkLst>
        </pc:spChg>
        <pc:spChg chg="add mod">
          <ac:chgData name="Ewen Trafford" userId="e520b4bf-a196-48b7-bc10-b1590a457daa" providerId="ADAL" clId="{050F2901-02EA-4CCD-80E9-59020FB821DE}" dt="2022-06-01T15:16:10.440" v="1750" actId="1076"/>
          <ac:spMkLst>
            <pc:docMk/>
            <pc:sldMk cId="3979226011" sldId="308"/>
            <ac:spMk id="15" creationId="{35AD8946-B44D-4839-A63C-03F79AF49D71}"/>
          </ac:spMkLst>
        </pc:spChg>
        <pc:spChg chg="add mod">
          <ac:chgData name="Ewen Trafford" userId="e520b4bf-a196-48b7-bc10-b1590a457daa" providerId="ADAL" clId="{050F2901-02EA-4CCD-80E9-59020FB821DE}" dt="2022-06-01T15:16:42.960" v="1769" actId="1076"/>
          <ac:spMkLst>
            <pc:docMk/>
            <pc:sldMk cId="3979226011" sldId="308"/>
            <ac:spMk id="16" creationId="{2F92A811-6F88-4679-89D8-62EDDBB9C872}"/>
          </ac:spMkLst>
        </pc:spChg>
        <pc:spChg chg="add mod">
          <ac:chgData name="Ewen Trafford" userId="e520b4bf-a196-48b7-bc10-b1590a457daa" providerId="ADAL" clId="{050F2901-02EA-4CCD-80E9-59020FB821DE}" dt="2022-06-01T15:16:50.769" v="1781" actId="20577"/>
          <ac:spMkLst>
            <pc:docMk/>
            <pc:sldMk cId="3979226011" sldId="308"/>
            <ac:spMk id="18" creationId="{549336F6-2856-4921-9204-6C301AA57BD4}"/>
          </ac:spMkLst>
        </pc:spChg>
        <pc:spChg chg="add mod">
          <ac:chgData name="Ewen Trafford" userId="e520b4bf-a196-48b7-bc10-b1590a457daa" providerId="ADAL" clId="{050F2901-02EA-4CCD-80E9-59020FB821DE}" dt="2022-06-01T15:16:59.847" v="1789" actId="20577"/>
          <ac:spMkLst>
            <pc:docMk/>
            <pc:sldMk cId="3979226011" sldId="308"/>
            <ac:spMk id="19" creationId="{5E908355-4CED-4FAD-9980-4052418EE962}"/>
          </ac:spMkLst>
        </pc:spChg>
        <pc:picChg chg="mod">
          <ac:chgData name="Ewen Trafford" userId="e520b4bf-a196-48b7-bc10-b1590a457daa" providerId="ADAL" clId="{050F2901-02EA-4CCD-80E9-59020FB821DE}" dt="2022-06-01T15:16:19.281" v="1754" actId="1076"/>
          <ac:picMkLst>
            <pc:docMk/>
            <pc:sldMk cId="3979226011" sldId="308"/>
            <ac:picMk id="5" creationId="{9F319B15-F7C6-4A47-9199-60BCC6831A22}"/>
          </ac:picMkLst>
        </pc:picChg>
        <pc:picChg chg="add del">
          <ac:chgData name="Ewen Trafford" userId="e520b4bf-a196-48b7-bc10-b1590a457daa" providerId="ADAL" clId="{050F2901-02EA-4CCD-80E9-59020FB821DE}" dt="2022-06-01T15:13:45.545" v="1649" actId="478"/>
          <ac:picMkLst>
            <pc:docMk/>
            <pc:sldMk cId="3979226011" sldId="308"/>
            <ac:picMk id="6" creationId="{B003AB75-540C-419A-A73D-D842D8C487DD}"/>
          </ac:picMkLst>
        </pc:picChg>
        <pc:picChg chg="add mod ord">
          <ac:chgData name="Ewen Trafford" userId="e520b4bf-a196-48b7-bc10-b1590a457daa" providerId="ADAL" clId="{050F2901-02EA-4CCD-80E9-59020FB821DE}" dt="2022-06-01T15:16:39.009" v="1768" actId="1076"/>
          <ac:picMkLst>
            <pc:docMk/>
            <pc:sldMk cId="3979226011" sldId="308"/>
            <ac:picMk id="8" creationId="{17048F22-2837-4579-85F3-124B471098F8}"/>
          </ac:picMkLst>
        </pc:picChg>
        <pc:picChg chg="mod">
          <ac:chgData name="Ewen Trafford" userId="e520b4bf-a196-48b7-bc10-b1590a457daa" providerId="ADAL" clId="{050F2901-02EA-4CCD-80E9-59020FB821DE}" dt="2022-06-01T15:15:44.129" v="1723" actId="1076"/>
          <ac:picMkLst>
            <pc:docMk/>
            <pc:sldMk cId="3979226011" sldId="308"/>
            <ac:picMk id="9" creationId="{4D8FF41C-D09E-454C-ADD3-C636F509A25D}"/>
          </ac:picMkLst>
        </pc:picChg>
        <pc:picChg chg="mod">
          <ac:chgData name="Ewen Trafford" userId="e520b4bf-a196-48b7-bc10-b1590a457daa" providerId="ADAL" clId="{050F2901-02EA-4CCD-80E9-59020FB821DE}" dt="2022-06-01T15:15:48.629" v="1725" actId="1076"/>
          <ac:picMkLst>
            <pc:docMk/>
            <pc:sldMk cId="3979226011" sldId="308"/>
            <ac:picMk id="10" creationId="{8E0243E2-491B-B364-6B2B-E7DE675C15CB}"/>
          </ac:picMkLst>
        </pc:picChg>
        <pc:picChg chg="mod">
          <ac:chgData name="Ewen Trafford" userId="e520b4bf-a196-48b7-bc10-b1590a457daa" providerId="ADAL" clId="{050F2901-02EA-4CCD-80E9-59020FB821DE}" dt="2022-06-01T15:14:27.969" v="1664" actId="1076"/>
          <ac:picMkLst>
            <pc:docMk/>
            <pc:sldMk cId="3979226011" sldId="308"/>
            <ac:picMk id="11" creationId="{AE9A2AA5-8E19-40AB-ABB4-6C69C4410945}"/>
          </ac:picMkLst>
        </pc:picChg>
        <pc:picChg chg="del">
          <ac:chgData name="Ewen Trafford" userId="e520b4bf-a196-48b7-bc10-b1590a457daa" providerId="ADAL" clId="{050F2901-02EA-4CCD-80E9-59020FB821DE}" dt="2022-05-31T12:38:03.381" v="0" actId="478"/>
          <ac:picMkLst>
            <pc:docMk/>
            <pc:sldMk cId="3979226011" sldId="308"/>
            <ac:picMk id="12" creationId="{66F4C863-84B1-C42A-380F-A3318D212C25}"/>
          </ac:picMkLst>
        </pc:picChg>
        <pc:picChg chg="mod ord">
          <ac:chgData name="Ewen Trafford" userId="e520b4bf-a196-48b7-bc10-b1590a457daa" providerId="ADAL" clId="{050F2901-02EA-4CCD-80E9-59020FB821DE}" dt="2022-06-01T15:16:16.470" v="1753" actId="1076"/>
          <ac:picMkLst>
            <pc:docMk/>
            <pc:sldMk cId="3979226011" sldId="308"/>
            <ac:picMk id="17" creationId="{33310B10-D808-729E-7E59-6863FE4D1EA7}"/>
          </ac:picMkLst>
        </pc:picChg>
      </pc:sldChg>
      <pc:sldChg chg="addSp delSp modSp mod delCm modCm">
        <pc:chgData name="Ewen Trafford" userId="e520b4bf-a196-48b7-bc10-b1590a457daa" providerId="ADAL" clId="{050F2901-02EA-4CCD-80E9-59020FB821DE}" dt="2022-05-31T12:43:45.419" v="173" actId="27614"/>
        <pc:sldMkLst>
          <pc:docMk/>
          <pc:sldMk cId="3837550476" sldId="309"/>
        </pc:sldMkLst>
        <pc:spChg chg="mod">
          <ac:chgData name="Ewen Trafford" userId="e520b4bf-a196-48b7-bc10-b1590a457daa" providerId="ADAL" clId="{050F2901-02EA-4CCD-80E9-59020FB821DE}" dt="2022-05-31T12:41:55.585" v="152" actId="20577"/>
          <ac:spMkLst>
            <pc:docMk/>
            <pc:sldMk cId="3837550476" sldId="309"/>
            <ac:spMk id="4" creationId="{C5AED35D-F009-4C6C-BE74-11E7A80DDC36}"/>
          </ac:spMkLst>
        </pc:spChg>
        <pc:picChg chg="del">
          <ac:chgData name="Ewen Trafford" userId="e520b4bf-a196-48b7-bc10-b1590a457daa" providerId="ADAL" clId="{050F2901-02EA-4CCD-80E9-59020FB821DE}" dt="2022-05-31T12:42:25.793" v="168" actId="478"/>
          <ac:picMkLst>
            <pc:docMk/>
            <pc:sldMk cId="3837550476" sldId="309"/>
            <ac:picMk id="5" creationId="{EECBBF6B-5CE0-4184-9994-17BC9E1F602B}"/>
          </ac:picMkLst>
        </pc:picChg>
        <pc:picChg chg="add mod">
          <ac:chgData name="Ewen Trafford" userId="e520b4bf-a196-48b7-bc10-b1590a457daa" providerId="ADAL" clId="{050F2901-02EA-4CCD-80E9-59020FB821DE}" dt="2022-05-31T12:43:45.419" v="173" actId="27614"/>
          <ac:picMkLst>
            <pc:docMk/>
            <pc:sldMk cId="3837550476" sldId="309"/>
            <ac:picMk id="6" creationId="{92133238-B981-4DD4-B039-A3F8A99403B6}"/>
          </ac:picMkLst>
        </pc:picChg>
      </pc:sldChg>
      <pc:sldChg chg="modSp mod">
        <pc:chgData name="Ewen Trafford" userId="e520b4bf-a196-48b7-bc10-b1590a457daa" providerId="ADAL" clId="{050F2901-02EA-4CCD-80E9-59020FB821DE}" dt="2022-06-01T14:47:52.554" v="748" actId="1076"/>
        <pc:sldMkLst>
          <pc:docMk/>
          <pc:sldMk cId="3209739012" sldId="310"/>
        </pc:sldMkLst>
        <pc:spChg chg="mod">
          <ac:chgData name="Ewen Trafford" userId="e520b4bf-a196-48b7-bc10-b1590a457daa" providerId="ADAL" clId="{050F2901-02EA-4CCD-80E9-59020FB821DE}" dt="2022-06-01T14:47:45.576" v="747" actId="122"/>
          <ac:spMkLst>
            <pc:docMk/>
            <pc:sldMk cId="3209739012" sldId="310"/>
            <ac:spMk id="3" creationId="{82E1E8C1-13C2-39F4-CCF1-E26E44E671DB}"/>
          </ac:spMkLst>
        </pc:spChg>
        <pc:picChg chg="mod">
          <ac:chgData name="Ewen Trafford" userId="e520b4bf-a196-48b7-bc10-b1590a457daa" providerId="ADAL" clId="{050F2901-02EA-4CCD-80E9-59020FB821DE}" dt="2022-06-01T14:47:52.554" v="748" actId="1076"/>
          <ac:picMkLst>
            <pc:docMk/>
            <pc:sldMk cId="3209739012" sldId="310"/>
            <ac:picMk id="5" creationId="{FA42C68B-E6E9-486C-8F93-455C9B1B04F2}"/>
          </ac:picMkLst>
        </pc:picChg>
      </pc:sldChg>
      <pc:sldChg chg="addSp delSp modSp mod">
        <pc:chgData name="Ewen Trafford" userId="e520b4bf-a196-48b7-bc10-b1590a457daa" providerId="ADAL" clId="{050F2901-02EA-4CCD-80E9-59020FB821DE}" dt="2022-05-31T13:16:26.245" v="587"/>
        <pc:sldMkLst>
          <pc:docMk/>
          <pc:sldMk cId="4248556420" sldId="314"/>
        </pc:sldMkLst>
        <pc:spChg chg="mod">
          <ac:chgData name="Ewen Trafford" userId="e520b4bf-a196-48b7-bc10-b1590a457daa" providerId="ADAL" clId="{050F2901-02EA-4CCD-80E9-59020FB821DE}" dt="2022-05-31T12:56:04.860" v="196" actId="14100"/>
          <ac:spMkLst>
            <pc:docMk/>
            <pc:sldMk cId="4248556420" sldId="314"/>
            <ac:spMk id="3" creationId="{96959814-9071-EAE4-F7AC-76E25031DC00}"/>
          </ac:spMkLst>
        </pc:spChg>
        <pc:spChg chg="del">
          <ac:chgData name="Ewen Trafford" userId="e520b4bf-a196-48b7-bc10-b1590a457daa" providerId="ADAL" clId="{050F2901-02EA-4CCD-80E9-59020FB821DE}" dt="2022-05-31T13:15:51.658" v="586" actId="478"/>
          <ac:spMkLst>
            <pc:docMk/>
            <pc:sldMk cId="4248556420" sldId="314"/>
            <ac:spMk id="4" creationId="{70457893-B388-CA53-3E6E-105567370A9A}"/>
          </ac:spMkLst>
        </pc:spChg>
        <pc:picChg chg="add mod">
          <ac:chgData name="Ewen Trafford" userId="e520b4bf-a196-48b7-bc10-b1590a457daa" providerId="ADAL" clId="{050F2901-02EA-4CCD-80E9-59020FB821DE}" dt="2022-05-31T13:16:26.245" v="587"/>
          <ac:picMkLst>
            <pc:docMk/>
            <pc:sldMk cId="4248556420" sldId="314"/>
            <ac:picMk id="5" creationId="{197A8734-4A54-4E2C-814B-7ABF82AB4D77}"/>
          </ac:picMkLst>
        </pc:picChg>
      </pc:sldChg>
      <pc:sldChg chg="addSp modSp mod">
        <pc:chgData name="Ewen Trafford" userId="e520b4bf-a196-48b7-bc10-b1590a457daa" providerId="ADAL" clId="{050F2901-02EA-4CCD-80E9-59020FB821DE}" dt="2022-06-01T13:14:35.443" v="664" actId="20577"/>
        <pc:sldMkLst>
          <pc:docMk/>
          <pc:sldMk cId="1627569597" sldId="315"/>
        </pc:sldMkLst>
        <pc:spChg chg="mod">
          <ac:chgData name="Ewen Trafford" userId="e520b4bf-a196-48b7-bc10-b1590a457daa" providerId="ADAL" clId="{050F2901-02EA-4CCD-80E9-59020FB821DE}" dt="2022-06-01T13:14:35.443" v="664" actId="20577"/>
          <ac:spMkLst>
            <pc:docMk/>
            <pc:sldMk cId="1627569597" sldId="315"/>
            <ac:spMk id="3" creationId="{78101E67-B0F1-726C-7F13-95384EA7B94E}"/>
          </ac:spMkLst>
        </pc:spChg>
        <pc:spChg chg="add mod">
          <ac:chgData name="Ewen Trafford" userId="e520b4bf-a196-48b7-bc10-b1590a457daa" providerId="ADAL" clId="{050F2901-02EA-4CCD-80E9-59020FB821DE}" dt="2022-06-01T13:14:04.056" v="663" actId="1076"/>
          <ac:spMkLst>
            <pc:docMk/>
            <pc:sldMk cId="1627569597" sldId="315"/>
            <ac:spMk id="4" creationId="{C848D59B-3A5E-45BB-B587-FFA3AE7EC638}"/>
          </ac:spMkLst>
        </pc:spChg>
      </pc:sldChg>
      <pc:sldChg chg="modSp mod">
        <pc:chgData name="Ewen Trafford" userId="e520b4bf-a196-48b7-bc10-b1590a457daa" providerId="ADAL" clId="{050F2901-02EA-4CCD-80E9-59020FB821DE}" dt="2022-05-31T12:47:03.893" v="176" actId="13926"/>
        <pc:sldMkLst>
          <pc:docMk/>
          <pc:sldMk cId="813545271" sldId="316"/>
        </pc:sldMkLst>
        <pc:spChg chg="mod">
          <ac:chgData name="Ewen Trafford" userId="e520b4bf-a196-48b7-bc10-b1590a457daa" providerId="ADAL" clId="{050F2901-02EA-4CCD-80E9-59020FB821DE}" dt="2022-05-31T12:47:03.893" v="176" actId="13926"/>
          <ac:spMkLst>
            <pc:docMk/>
            <pc:sldMk cId="813545271" sldId="316"/>
            <ac:spMk id="4" creationId="{B951880E-2548-03FC-30F1-559F3B67733E}"/>
          </ac:spMkLst>
        </pc:spChg>
      </pc:sldChg>
      <pc:sldChg chg="modSp mod">
        <pc:chgData name="Ewen Trafford" userId="e520b4bf-a196-48b7-bc10-b1590a457daa" providerId="ADAL" clId="{050F2901-02EA-4CCD-80E9-59020FB821DE}" dt="2022-06-01T07:42:20.136" v="657" actId="20577"/>
        <pc:sldMkLst>
          <pc:docMk/>
          <pc:sldMk cId="1986818962" sldId="317"/>
        </pc:sldMkLst>
        <pc:spChg chg="mod">
          <ac:chgData name="Ewen Trafford" userId="e520b4bf-a196-48b7-bc10-b1590a457daa" providerId="ADAL" clId="{050F2901-02EA-4CCD-80E9-59020FB821DE}" dt="2022-06-01T07:42:20.136" v="657" actId="20577"/>
          <ac:spMkLst>
            <pc:docMk/>
            <pc:sldMk cId="1986818962" sldId="317"/>
            <ac:spMk id="3" creationId="{F542AE94-456A-179B-63E4-5401D70ED4F9}"/>
          </ac:spMkLst>
        </pc:spChg>
      </pc:sldChg>
      <pc:sldChg chg="addSp delSp modSp add mod">
        <pc:chgData name="Ewen Trafford" userId="e520b4bf-a196-48b7-bc10-b1590a457daa" providerId="ADAL" clId="{050F2901-02EA-4CCD-80E9-59020FB821DE}" dt="2022-05-31T13:01:47.360" v="585" actId="962"/>
        <pc:sldMkLst>
          <pc:docMk/>
          <pc:sldMk cId="2671712240" sldId="318"/>
        </pc:sldMkLst>
        <pc:spChg chg="mod">
          <ac:chgData name="Ewen Trafford" userId="e520b4bf-a196-48b7-bc10-b1590a457daa" providerId="ADAL" clId="{050F2901-02EA-4CCD-80E9-59020FB821DE}" dt="2022-05-31T13:00:40.699" v="581" actId="20577"/>
          <ac:spMkLst>
            <pc:docMk/>
            <pc:sldMk cId="2671712240" sldId="318"/>
            <ac:spMk id="3" creationId="{96959814-9071-EAE4-F7AC-76E25031DC00}"/>
          </ac:spMkLst>
        </pc:spChg>
        <pc:spChg chg="del">
          <ac:chgData name="Ewen Trafford" userId="e520b4bf-a196-48b7-bc10-b1590a457daa" providerId="ADAL" clId="{050F2901-02EA-4CCD-80E9-59020FB821DE}" dt="2022-05-31T12:56:45.147" v="198" actId="478"/>
          <ac:spMkLst>
            <pc:docMk/>
            <pc:sldMk cId="2671712240" sldId="318"/>
            <ac:spMk id="4" creationId="{70457893-B388-CA53-3E6E-105567370A9A}"/>
          </ac:spMkLst>
        </pc:spChg>
        <pc:picChg chg="add mod">
          <ac:chgData name="Ewen Trafford" userId="e520b4bf-a196-48b7-bc10-b1590a457daa" providerId="ADAL" clId="{050F2901-02EA-4CCD-80E9-59020FB821DE}" dt="2022-05-31T13:01:47.360" v="585" actId="962"/>
          <ac:picMkLst>
            <pc:docMk/>
            <pc:sldMk cId="2671712240" sldId="318"/>
            <ac:picMk id="6" creationId="{3A8E65E4-A4F0-4971-8A62-91D0ADADF820}"/>
          </ac:picMkLst>
        </pc:picChg>
      </pc:sldChg>
      <pc:sldChg chg="addSp delSp modSp add mod">
        <pc:chgData name="Ewen Trafford" userId="e520b4bf-a196-48b7-bc10-b1590a457daa" providerId="ADAL" clId="{050F2901-02EA-4CCD-80E9-59020FB821DE}" dt="2022-06-01T15:10:16.908" v="1645" actId="1076"/>
        <pc:sldMkLst>
          <pc:docMk/>
          <pc:sldMk cId="3242718659" sldId="321"/>
        </pc:sldMkLst>
        <pc:spChg chg="mod">
          <ac:chgData name="Ewen Trafford" userId="e520b4bf-a196-48b7-bc10-b1590a457daa" providerId="ADAL" clId="{050F2901-02EA-4CCD-80E9-59020FB821DE}" dt="2022-06-01T14:54:12.482" v="826" actId="20577"/>
          <ac:spMkLst>
            <pc:docMk/>
            <pc:sldMk cId="3242718659" sldId="321"/>
            <ac:spMk id="2" creationId="{ECB39143-43DB-404B-999A-68A64BABF4DE}"/>
          </ac:spMkLst>
        </pc:spChg>
        <pc:spChg chg="del">
          <ac:chgData name="Ewen Trafford" userId="e520b4bf-a196-48b7-bc10-b1590a457daa" providerId="ADAL" clId="{050F2901-02EA-4CCD-80E9-59020FB821DE}" dt="2022-06-01T14:42:30.801" v="675" actId="478"/>
          <ac:spMkLst>
            <pc:docMk/>
            <pc:sldMk cId="3242718659" sldId="321"/>
            <ac:spMk id="3" creationId="{82E1E8C1-13C2-39F4-CCF1-E26E44E671DB}"/>
          </ac:spMkLst>
        </pc:spChg>
        <pc:spChg chg="add mod">
          <ac:chgData name="Ewen Trafford" userId="e520b4bf-a196-48b7-bc10-b1590a457daa" providerId="ADAL" clId="{050F2901-02EA-4CCD-80E9-59020FB821DE}" dt="2022-06-01T15:10:16.908" v="1645" actId="1076"/>
          <ac:spMkLst>
            <pc:docMk/>
            <pc:sldMk cId="3242718659" sldId="321"/>
            <ac:spMk id="4" creationId="{89628BFC-AD4C-4038-9C13-847717E6B879}"/>
          </ac:spMkLst>
        </pc:spChg>
        <pc:spChg chg="add mod">
          <ac:chgData name="Ewen Trafford" userId="e520b4bf-a196-48b7-bc10-b1590a457daa" providerId="ADAL" clId="{050F2901-02EA-4CCD-80E9-59020FB821DE}" dt="2022-06-01T15:10:16.908" v="1645" actId="1076"/>
          <ac:spMkLst>
            <pc:docMk/>
            <pc:sldMk cId="3242718659" sldId="321"/>
            <ac:spMk id="6" creationId="{31B29C72-F459-4D61-AB49-7BB7D575ED6F}"/>
          </ac:spMkLst>
        </pc:spChg>
        <pc:spChg chg="del">
          <ac:chgData name="Ewen Trafford" userId="e520b4bf-a196-48b7-bc10-b1590a457daa" providerId="ADAL" clId="{050F2901-02EA-4CCD-80E9-59020FB821DE}" dt="2022-06-01T14:42:28.965" v="673" actId="478"/>
          <ac:spMkLst>
            <pc:docMk/>
            <pc:sldMk cId="3242718659" sldId="321"/>
            <ac:spMk id="8" creationId="{EC2AA5D8-F8D8-4242-8DAC-9758B8843027}"/>
          </ac:spMkLst>
        </pc:spChg>
        <pc:spChg chg="del mod">
          <ac:chgData name="Ewen Trafford" userId="e520b4bf-a196-48b7-bc10-b1590a457daa" providerId="ADAL" clId="{050F2901-02EA-4CCD-80E9-59020FB821DE}" dt="2022-06-01T14:45:23.173" v="704" actId="478"/>
          <ac:spMkLst>
            <pc:docMk/>
            <pc:sldMk cId="3242718659" sldId="321"/>
            <ac:spMk id="13" creationId="{02E09705-AFB4-4B4A-89E0-334E95AD3D06}"/>
          </ac:spMkLst>
        </pc:spChg>
        <pc:spChg chg="mod">
          <ac:chgData name="Ewen Trafford" userId="e520b4bf-a196-48b7-bc10-b1590a457daa" providerId="ADAL" clId="{050F2901-02EA-4CCD-80E9-59020FB821DE}" dt="2022-06-01T14:54:19.404" v="828" actId="1076"/>
          <ac:spMkLst>
            <pc:docMk/>
            <pc:sldMk cId="3242718659" sldId="321"/>
            <ac:spMk id="16" creationId="{4421B915-9D86-4631-82D1-085C58FC3686}"/>
          </ac:spMkLst>
        </pc:spChg>
        <pc:spChg chg="mod">
          <ac:chgData name="Ewen Trafford" userId="e520b4bf-a196-48b7-bc10-b1590a457daa" providerId="ADAL" clId="{050F2901-02EA-4CCD-80E9-59020FB821DE}" dt="2022-06-01T14:45:58.673" v="711" actId="1076"/>
          <ac:spMkLst>
            <pc:docMk/>
            <pc:sldMk cId="3242718659" sldId="321"/>
            <ac:spMk id="17" creationId="{A13F6C8C-2CBC-458D-A635-4F60970A1540}"/>
          </ac:spMkLst>
        </pc:spChg>
        <pc:spChg chg="mod">
          <ac:chgData name="Ewen Trafford" userId="e520b4bf-a196-48b7-bc10-b1590a457daa" providerId="ADAL" clId="{050F2901-02EA-4CCD-80E9-59020FB821DE}" dt="2022-06-01T14:45:54.606" v="710" actId="1076"/>
          <ac:spMkLst>
            <pc:docMk/>
            <pc:sldMk cId="3242718659" sldId="321"/>
            <ac:spMk id="18" creationId="{D2602FB9-EF64-4C79-864B-4B1281DF5A3C}"/>
          </ac:spMkLst>
        </pc:spChg>
        <pc:spChg chg="add mod">
          <ac:chgData name="Ewen Trafford" userId="e520b4bf-a196-48b7-bc10-b1590a457daa" providerId="ADAL" clId="{050F2901-02EA-4CCD-80E9-59020FB821DE}" dt="2022-06-01T15:10:16.908" v="1645" actId="1076"/>
          <ac:spMkLst>
            <pc:docMk/>
            <pc:sldMk cId="3242718659" sldId="321"/>
            <ac:spMk id="19" creationId="{63D851DD-2719-49ED-9982-C9D7A231E8B7}"/>
          </ac:spMkLst>
        </pc:spChg>
        <pc:spChg chg="add mod">
          <ac:chgData name="Ewen Trafford" userId="e520b4bf-a196-48b7-bc10-b1590a457daa" providerId="ADAL" clId="{050F2901-02EA-4CCD-80E9-59020FB821DE}" dt="2022-06-01T15:10:16.908" v="1645" actId="1076"/>
          <ac:spMkLst>
            <pc:docMk/>
            <pc:sldMk cId="3242718659" sldId="321"/>
            <ac:spMk id="20" creationId="{D796803E-7ED7-40D2-843A-CF930D929DD1}"/>
          </ac:spMkLst>
        </pc:spChg>
        <pc:spChg chg="add mod">
          <ac:chgData name="Ewen Trafford" userId="e520b4bf-a196-48b7-bc10-b1590a457daa" providerId="ADAL" clId="{050F2901-02EA-4CCD-80E9-59020FB821DE}" dt="2022-06-01T15:10:16.908" v="1645" actId="1076"/>
          <ac:spMkLst>
            <pc:docMk/>
            <pc:sldMk cId="3242718659" sldId="321"/>
            <ac:spMk id="21" creationId="{EBAA8E3F-92D8-49FC-9113-46FC31899FEB}"/>
          </ac:spMkLst>
        </pc:spChg>
        <pc:grpChg chg="add mod">
          <ac:chgData name="Ewen Trafford" userId="e520b4bf-a196-48b7-bc10-b1590a457daa" providerId="ADAL" clId="{050F2901-02EA-4CCD-80E9-59020FB821DE}" dt="2022-06-01T15:06:11.856" v="1523" actId="1076"/>
          <ac:grpSpMkLst>
            <pc:docMk/>
            <pc:sldMk cId="3242718659" sldId="321"/>
            <ac:grpSpMk id="12" creationId="{A62D8B44-8FE2-4FD9-B9BE-4A267BF086D7}"/>
          </ac:grpSpMkLst>
        </pc:grpChg>
        <pc:picChg chg="del">
          <ac:chgData name="Ewen Trafford" userId="e520b4bf-a196-48b7-bc10-b1590a457daa" providerId="ADAL" clId="{050F2901-02EA-4CCD-80E9-59020FB821DE}" dt="2022-06-01T14:42:29.558" v="674" actId="478"/>
          <ac:picMkLst>
            <pc:docMk/>
            <pc:sldMk cId="3242718659" sldId="321"/>
            <ac:picMk id="5" creationId="{FA42C68B-E6E9-486C-8F93-455C9B1B04F2}"/>
          </ac:picMkLst>
        </pc:picChg>
        <pc:picChg chg="add mod modCrop">
          <ac:chgData name="Ewen Trafford" userId="e520b4bf-a196-48b7-bc10-b1590a457daa" providerId="ADAL" clId="{050F2901-02EA-4CCD-80E9-59020FB821DE}" dt="2022-06-01T15:10:16.908" v="1645" actId="1076"/>
          <ac:picMkLst>
            <pc:docMk/>
            <pc:sldMk cId="3242718659" sldId="321"/>
            <ac:picMk id="9" creationId="{1466BC97-189B-4972-BE31-96AB3B3AE643}"/>
          </ac:picMkLst>
        </pc:picChg>
        <pc:picChg chg="add mod modCrop">
          <ac:chgData name="Ewen Trafford" userId="e520b4bf-a196-48b7-bc10-b1590a457daa" providerId="ADAL" clId="{050F2901-02EA-4CCD-80E9-59020FB821DE}" dt="2022-06-01T15:10:16.908" v="1645" actId="1076"/>
          <ac:picMkLst>
            <pc:docMk/>
            <pc:sldMk cId="3242718659" sldId="321"/>
            <ac:picMk id="10" creationId="{5FCB5562-066A-479A-9BAF-E6F78009EA1F}"/>
          </ac:picMkLst>
        </pc:picChg>
        <pc:picChg chg="add mod modCrop">
          <ac:chgData name="Ewen Trafford" userId="e520b4bf-a196-48b7-bc10-b1590a457daa" providerId="ADAL" clId="{050F2901-02EA-4CCD-80E9-59020FB821DE}" dt="2022-06-01T15:10:16.908" v="1645" actId="1076"/>
          <ac:picMkLst>
            <pc:docMk/>
            <pc:sldMk cId="3242718659" sldId="321"/>
            <ac:picMk id="11" creationId="{89676DCE-A09A-43C6-86F0-CFE5E78CBAE2}"/>
          </ac:picMkLst>
        </pc:picChg>
        <pc:picChg chg="mod">
          <ac:chgData name="Ewen Trafford" userId="e520b4bf-a196-48b7-bc10-b1590a457daa" providerId="ADAL" clId="{050F2901-02EA-4CCD-80E9-59020FB821DE}" dt="2022-06-01T14:45:58.673" v="711" actId="1076"/>
          <ac:picMkLst>
            <pc:docMk/>
            <pc:sldMk cId="3242718659" sldId="321"/>
            <ac:picMk id="14" creationId="{DF478CA5-8AEF-4A9C-8CB8-B8BE780BC85D}"/>
          </ac:picMkLst>
        </pc:picChg>
        <pc:picChg chg="mod">
          <ac:chgData name="Ewen Trafford" userId="e520b4bf-a196-48b7-bc10-b1590a457daa" providerId="ADAL" clId="{050F2901-02EA-4CCD-80E9-59020FB821DE}" dt="2022-06-01T14:45:54.606" v="710" actId="1076"/>
          <ac:picMkLst>
            <pc:docMk/>
            <pc:sldMk cId="3242718659" sldId="321"/>
            <ac:picMk id="15" creationId="{BDA3A3D1-523C-4E42-8D1C-D0F7925473FD}"/>
          </ac:picMkLst>
        </pc:picChg>
        <pc:picChg chg="add del mod ord">
          <ac:chgData name="Ewen Trafford" userId="e520b4bf-a196-48b7-bc10-b1590a457daa" providerId="ADAL" clId="{050F2901-02EA-4CCD-80E9-59020FB821DE}" dt="2022-06-01T15:06:48.524" v="1530" actId="478"/>
          <ac:picMkLst>
            <pc:docMk/>
            <pc:sldMk cId="3242718659" sldId="321"/>
            <ac:picMk id="22" creationId="{B29CD897-5734-4FBF-8DFE-860FE228EFE6}"/>
          </ac:picMkLst>
        </pc:picChg>
        <pc:picChg chg="add del mod ord">
          <ac:chgData name="Ewen Trafford" userId="e520b4bf-a196-48b7-bc10-b1590a457daa" providerId="ADAL" clId="{050F2901-02EA-4CCD-80E9-59020FB821DE}" dt="2022-06-01T15:07:06.574" v="1539" actId="478"/>
          <ac:picMkLst>
            <pc:docMk/>
            <pc:sldMk cId="3242718659" sldId="321"/>
            <ac:picMk id="23" creationId="{AA0EA621-015E-4CD6-94AC-8AE129A34A3B}"/>
          </ac:picMkLst>
        </pc:picChg>
        <pc:picChg chg="add del mod ord">
          <ac:chgData name="Ewen Trafford" userId="e520b4bf-a196-48b7-bc10-b1590a457daa" providerId="ADAL" clId="{050F2901-02EA-4CCD-80E9-59020FB821DE}" dt="2022-06-01T15:07:25.797" v="1548" actId="478"/>
          <ac:picMkLst>
            <pc:docMk/>
            <pc:sldMk cId="3242718659" sldId="321"/>
            <ac:picMk id="24" creationId="{3E8EF79E-AB44-45EC-9BD9-EF8AC14540B1}"/>
          </ac:picMkLst>
        </pc:picChg>
      </pc:sldChg>
      <pc:sldChg chg="addSp delSp modSp add mod">
        <pc:chgData name="Ewen Trafford" userId="e520b4bf-a196-48b7-bc10-b1590a457daa" providerId="ADAL" clId="{050F2901-02EA-4CCD-80E9-59020FB821DE}" dt="2022-06-01T15:06:06.346" v="1522" actId="1076"/>
        <pc:sldMkLst>
          <pc:docMk/>
          <pc:sldMk cId="3997623350" sldId="322"/>
        </pc:sldMkLst>
        <pc:spChg chg="mod">
          <ac:chgData name="Ewen Trafford" userId="e520b4bf-a196-48b7-bc10-b1590a457daa" providerId="ADAL" clId="{050F2901-02EA-4CCD-80E9-59020FB821DE}" dt="2022-06-01T14:54:03.155" v="800" actId="20577"/>
          <ac:spMkLst>
            <pc:docMk/>
            <pc:sldMk cId="3997623350" sldId="322"/>
            <ac:spMk id="2" creationId="{ECB39143-43DB-404B-999A-68A64BABF4DE}"/>
          </ac:spMkLst>
        </pc:spChg>
        <pc:spChg chg="mod">
          <ac:chgData name="Ewen Trafford" userId="e520b4bf-a196-48b7-bc10-b1590a457daa" providerId="ADAL" clId="{050F2901-02EA-4CCD-80E9-59020FB821DE}" dt="2022-06-01T14:53:39.436" v="772" actId="1076"/>
          <ac:spMkLst>
            <pc:docMk/>
            <pc:sldMk cId="3997623350" sldId="322"/>
            <ac:spMk id="16" creationId="{4421B915-9D86-4631-82D1-085C58FC3686}"/>
          </ac:spMkLst>
        </pc:spChg>
        <pc:spChg chg="mod">
          <ac:chgData name="Ewen Trafford" userId="e520b4bf-a196-48b7-bc10-b1590a457daa" providerId="ADAL" clId="{050F2901-02EA-4CCD-80E9-59020FB821DE}" dt="2022-06-01T14:49:59.272" v="764" actId="1076"/>
          <ac:spMkLst>
            <pc:docMk/>
            <pc:sldMk cId="3997623350" sldId="322"/>
            <ac:spMk id="18" creationId="{D2602FB9-EF64-4C79-864B-4B1281DF5A3C}"/>
          </ac:spMkLst>
        </pc:spChg>
        <pc:spChg chg="add mod">
          <ac:chgData name="Ewen Trafford" userId="e520b4bf-a196-48b7-bc10-b1590a457daa" providerId="ADAL" clId="{050F2901-02EA-4CCD-80E9-59020FB821DE}" dt="2022-06-01T15:00:04.625" v="1386" actId="164"/>
          <ac:spMkLst>
            <pc:docMk/>
            <pc:sldMk cId="3997623350" sldId="322"/>
            <ac:spMk id="21" creationId="{934D44A2-803B-4163-B8D6-63CCD04FB6D6}"/>
          </ac:spMkLst>
        </pc:spChg>
        <pc:spChg chg="add mod">
          <ac:chgData name="Ewen Trafford" userId="e520b4bf-a196-48b7-bc10-b1590a457daa" providerId="ADAL" clId="{050F2901-02EA-4CCD-80E9-59020FB821DE}" dt="2022-06-01T15:04:25.046" v="1439" actId="1076"/>
          <ac:spMkLst>
            <pc:docMk/>
            <pc:sldMk cId="3997623350" sldId="322"/>
            <ac:spMk id="22" creationId="{F977F16C-AD46-4BC6-B293-7D8019CB465C}"/>
          </ac:spMkLst>
        </pc:spChg>
        <pc:spChg chg="add mod">
          <ac:chgData name="Ewen Trafford" userId="e520b4bf-a196-48b7-bc10-b1590a457daa" providerId="ADAL" clId="{050F2901-02EA-4CCD-80E9-59020FB821DE}" dt="2022-06-01T15:04:38.840" v="1440" actId="1076"/>
          <ac:spMkLst>
            <pc:docMk/>
            <pc:sldMk cId="3997623350" sldId="322"/>
            <ac:spMk id="23" creationId="{CBB1DB9A-8EAF-4F2A-AF66-91C87E164E80}"/>
          </ac:spMkLst>
        </pc:spChg>
        <pc:spChg chg="add mod">
          <ac:chgData name="Ewen Trafford" userId="e520b4bf-a196-48b7-bc10-b1590a457daa" providerId="ADAL" clId="{050F2901-02EA-4CCD-80E9-59020FB821DE}" dt="2022-06-01T15:01:36.754" v="1406" actId="1037"/>
          <ac:spMkLst>
            <pc:docMk/>
            <pc:sldMk cId="3997623350" sldId="322"/>
            <ac:spMk id="24" creationId="{0F708853-0B3B-469A-AAA9-6330C1F71C33}"/>
          </ac:spMkLst>
        </pc:spChg>
        <pc:spChg chg="add mod">
          <ac:chgData name="Ewen Trafford" userId="e520b4bf-a196-48b7-bc10-b1590a457daa" providerId="ADAL" clId="{050F2901-02EA-4CCD-80E9-59020FB821DE}" dt="2022-06-01T15:03:54.820" v="1418" actId="1076"/>
          <ac:spMkLst>
            <pc:docMk/>
            <pc:sldMk cId="3997623350" sldId="322"/>
            <ac:spMk id="25" creationId="{998B4088-D9BA-4295-8D70-E7F4D7790401}"/>
          </ac:spMkLst>
        </pc:spChg>
        <pc:spChg chg="add mod">
          <ac:chgData name="Ewen Trafford" userId="e520b4bf-a196-48b7-bc10-b1590a457daa" providerId="ADAL" clId="{050F2901-02EA-4CCD-80E9-59020FB821DE}" dt="2022-06-01T15:06:02.510" v="1521" actId="1076"/>
          <ac:spMkLst>
            <pc:docMk/>
            <pc:sldMk cId="3997623350" sldId="322"/>
            <ac:spMk id="26" creationId="{D4D2C9E5-41BE-494E-84A0-DC1FB2634DAF}"/>
          </ac:spMkLst>
        </pc:spChg>
        <pc:grpChg chg="add mod">
          <ac:chgData name="Ewen Trafford" userId="e520b4bf-a196-48b7-bc10-b1590a457daa" providerId="ADAL" clId="{050F2901-02EA-4CCD-80E9-59020FB821DE}" dt="2022-06-01T15:06:06.346" v="1522" actId="1076"/>
          <ac:grpSpMkLst>
            <pc:docMk/>
            <pc:sldMk cId="3997623350" sldId="322"/>
            <ac:grpSpMk id="3" creationId="{7C4C0830-9010-4332-9853-9720AA38B930}"/>
          </ac:grpSpMkLst>
        </pc:grpChg>
        <pc:grpChg chg="mod">
          <ac:chgData name="Ewen Trafford" userId="e520b4bf-a196-48b7-bc10-b1590a457daa" providerId="ADAL" clId="{050F2901-02EA-4CCD-80E9-59020FB821DE}" dt="2022-06-01T15:00:04.625" v="1386" actId="164"/>
          <ac:grpSpMkLst>
            <pc:docMk/>
            <pc:sldMk cId="3997623350" sldId="322"/>
            <ac:grpSpMk id="12" creationId="{A62D8B44-8FE2-4FD9-B9BE-4A267BF086D7}"/>
          </ac:grpSpMkLst>
        </pc:grpChg>
        <pc:picChg chg="add mod">
          <ac:chgData name="Ewen Trafford" userId="e520b4bf-a196-48b7-bc10-b1590a457daa" providerId="ADAL" clId="{050F2901-02EA-4CCD-80E9-59020FB821DE}" dt="2022-06-01T15:03:50.307" v="1416" actId="1076"/>
          <ac:picMkLst>
            <pc:docMk/>
            <pc:sldMk cId="3997623350" sldId="322"/>
            <ac:picMk id="5" creationId="{850D856E-01E9-4167-AA4F-3D42A85E9FA3}"/>
          </ac:picMkLst>
        </pc:picChg>
        <pc:picChg chg="del">
          <ac:chgData name="Ewen Trafford" userId="e520b4bf-a196-48b7-bc10-b1590a457daa" providerId="ADAL" clId="{050F2901-02EA-4CCD-80E9-59020FB821DE}" dt="2022-06-01T14:48:19.191" v="750" actId="478"/>
          <ac:picMkLst>
            <pc:docMk/>
            <pc:sldMk cId="3997623350" sldId="322"/>
            <ac:picMk id="9" creationId="{1466BC97-189B-4972-BE31-96AB3B3AE643}"/>
          </ac:picMkLst>
        </pc:picChg>
        <pc:picChg chg="del">
          <ac:chgData name="Ewen Trafford" userId="e520b4bf-a196-48b7-bc10-b1590a457daa" providerId="ADAL" clId="{050F2901-02EA-4CCD-80E9-59020FB821DE}" dt="2022-06-01T14:48:19.610" v="751" actId="478"/>
          <ac:picMkLst>
            <pc:docMk/>
            <pc:sldMk cId="3997623350" sldId="322"/>
            <ac:picMk id="10" creationId="{5FCB5562-066A-479A-9BAF-E6F78009EA1F}"/>
          </ac:picMkLst>
        </pc:picChg>
        <pc:picChg chg="del">
          <ac:chgData name="Ewen Trafford" userId="e520b4bf-a196-48b7-bc10-b1590a457daa" providerId="ADAL" clId="{050F2901-02EA-4CCD-80E9-59020FB821DE}" dt="2022-06-01T14:48:19.972" v="752" actId="478"/>
          <ac:picMkLst>
            <pc:docMk/>
            <pc:sldMk cId="3997623350" sldId="322"/>
            <ac:picMk id="11" creationId="{89676DCE-A09A-43C6-86F0-CFE5E78CBAE2}"/>
          </ac:picMkLst>
        </pc:picChg>
        <pc:picChg chg="add mod">
          <ac:chgData name="Ewen Trafford" userId="e520b4bf-a196-48b7-bc10-b1590a457daa" providerId="ADAL" clId="{050F2901-02EA-4CCD-80E9-59020FB821DE}" dt="2022-06-01T15:04:25.046" v="1439" actId="1076"/>
          <ac:picMkLst>
            <pc:docMk/>
            <pc:sldMk cId="3997623350" sldId="322"/>
            <ac:picMk id="13" creationId="{092802BF-F80A-4D1E-AC60-D53B3D0CE2FD}"/>
          </ac:picMkLst>
        </pc:picChg>
        <pc:picChg chg="mod">
          <ac:chgData name="Ewen Trafford" userId="e520b4bf-a196-48b7-bc10-b1590a457daa" providerId="ADAL" clId="{050F2901-02EA-4CCD-80E9-59020FB821DE}" dt="2022-06-01T14:49:56.223" v="763" actId="1076"/>
          <ac:picMkLst>
            <pc:docMk/>
            <pc:sldMk cId="3997623350" sldId="322"/>
            <ac:picMk id="15" creationId="{BDA3A3D1-523C-4E42-8D1C-D0F7925473FD}"/>
          </ac:picMkLst>
        </pc:picChg>
        <pc:picChg chg="add mod modCrop">
          <ac:chgData name="Ewen Trafford" userId="e520b4bf-a196-48b7-bc10-b1590a457daa" providerId="ADAL" clId="{050F2901-02EA-4CCD-80E9-59020FB821DE}" dt="2022-06-01T15:00:27.923" v="1390" actId="1035"/>
          <ac:picMkLst>
            <pc:docMk/>
            <pc:sldMk cId="3997623350" sldId="322"/>
            <ac:picMk id="19" creationId="{B4A403E4-7F35-4DFE-AE02-2E83C1A9E551}"/>
          </ac:picMkLst>
        </pc:picChg>
        <pc:picChg chg="add mod">
          <ac:chgData name="Ewen Trafford" userId="e520b4bf-a196-48b7-bc10-b1590a457daa" providerId="ADAL" clId="{050F2901-02EA-4CCD-80E9-59020FB821DE}" dt="2022-06-01T15:00:04.625" v="1386" actId="164"/>
          <ac:picMkLst>
            <pc:docMk/>
            <pc:sldMk cId="3997623350" sldId="322"/>
            <ac:picMk id="20" creationId="{AAD0D4BD-BB50-448D-8BFB-CF83752266AE}"/>
          </ac:picMkLst>
        </pc:picChg>
      </pc:sldChg>
    </pc:docChg>
  </pc:docChgLst>
  <pc:docChgLst>
    <pc:chgData name="Ewen Trafford" userId="e520b4bf-a196-48b7-bc10-b1590a457daa" providerId="ADAL" clId="{6C03F216-C3BC-47B5-8764-F031155F8633}"/>
    <pc:docChg chg="custSel modSld">
      <pc:chgData name="Ewen Trafford" userId="e520b4bf-a196-48b7-bc10-b1590a457daa" providerId="ADAL" clId="{6C03F216-C3BC-47B5-8764-F031155F8633}" dt="2022-07-20T09:10:09.780" v="160" actId="20577"/>
      <pc:docMkLst>
        <pc:docMk/>
      </pc:docMkLst>
      <pc:sldChg chg="modSp mod">
        <pc:chgData name="Ewen Trafford" userId="e520b4bf-a196-48b7-bc10-b1590a457daa" providerId="ADAL" clId="{6C03F216-C3BC-47B5-8764-F031155F8633}" dt="2022-07-20T09:10:09.780" v="160" actId="20577"/>
        <pc:sldMkLst>
          <pc:docMk/>
          <pc:sldMk cId="2450036879" sldId="324"/>
        </pc:sldMkLst>
        <pc:graphicFrameChg chg="modGraphic">
          <ac:chgData name="Ewen Trafford" userId="e520b4bf-a196-48b7-bc10-b1590a457daa" providerId="ADAL" clId="{6C03F216-C3BC-47B5-8764-F031155F8633}" dt="2022-07-20T09:10:09.780" v="160" actId="20577"/>
          <ac:graphicFrameMkLst>
            <pc:docMk/>
            <pc:sldMk cId="2450036879" sldId="324"/>
            <ac:graphicFrameMk id="7" creationId="{21663884-8A5D-DD9A-B4F0-E1EED248AA0D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595EDE-C814-4531-BA28-B0829ACBCA95}" type="datetimeFigureOut">
              <a:rPr lang="en-GB" smtClean="0"/>
              <a:t>25/09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73C9BA-5544-4F63-A48C-49913C4BC2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08443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73C9BA-5544-4F63-A48C-49913C4BC280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2652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2452" y="3531477"/>
            <a:ext cx="9144000" cy="73309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4400" b="1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410729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53512" y="587760"/>
            <a:ext cx="9144000" cy="63549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4000" b="1" i="0">
                <a:solidFill>
                  <a:srgbClr val="EF9F3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53512" y="3065488"/>
            <a:ext cx="9144000" cy="3087973"/>
          </a:xfrm>
          <a:prstGeom prst="rect">
            <a:avLst/>
          </a:prstGeom>
        </p:spPr>
        <p:txBody>
          <a:bodyPr lIns="0" tIns="0" rIns="0" bIns="0"/>
          <a:lstStyle>
            <a:lvl1pPr marL="285750" indent="-285750" algn="l">
              <a:buFont typeface="Arial" charset="0"/>
              <a:buChar char="•"/>
              <a:defRPr sz="1800"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823767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9274" y="1563798"/>
            <a:ext cx="9720000" cy="72000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3400" b="1" i="0">
                <a:solidFill>
                  <a:srgbClr val="EF9F3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69276" y="2571092"/>
            <a:ext cx="9720000" cy="3600000"/>
          </a:xfrm>
          <a:prstGeom prst="rect">
            <a:avLst/>
          </a:prstGeom>
        </p:spPr>
        <p:txBody>
          <a:bodyPr lIns="0" tIns="0" rIns="0" bIns="0" numCol="1" anchor="t"/>
          <a:lstStyle>
            <a:lvl1pPr marL="285750" indent="-285750" algn="l">
              <a:buSzPct val="90000"/>
              <a:buFont typeface="Arial" charset="0"/>
              <a:buChar char="•"/>
              <a:defRPr sz="2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1551343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6209274" y="2571092"/>
            <a:ext cx="4680000" cy="3600000"/>
          </a:xfrm>
          <a:prstGeom prst="rect">
            <a:avLst/>
          </a:prstGeom>
          <a:solidFill>
            <a:srgbClr val="FCE3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69276" y="2571092"/>
            <a:ext cx="4680000" cy="360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285750" indent="-285750">
              <a:buSzPct val="90000"/>
              <a:buFont typeface="Arial" charset="0"/>
              <a:buChar char="•"/>
              <a:defRPr sz="1800" b="0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Body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98461" y="2760281"/>
            <a:ext cx="4320000" cy="324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1800" b="0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Body text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1169276" y="1563798"/>
            <a:ext cx="9720000" cy="720000"/>
          </a:xfrm>
          <a:prstGeom prst="rect">
            <a:avLst/>
          </a:prstGeom>
        </p:spPr>
        <p:txBody>
          <a:bodyPr lIns="0" tIns="0" rIns="0" bIns="0"/>
          <a:lstStyle>
            <a:lvl1pPr>
              <a:defRPr sz="3400" b="1" i="0">
                <a:solidFill>
                  <a:srgbClr val="EF9F3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800079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oodafactoflife.org.uk/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hyperlink" Target="http://www.foodafactoflife.org.uk/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hyperlink" Target="http://www.foodafactoflife.org.uk/" TargetMode="Externa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hyperlink" Target="http://www.foodafactoflife.org.uk/" TargetMode="Externa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2160862-40A4-418F-BA05-7364BC4F57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86662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2160862-40A4-418F-BA05-7364BC4F57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9453" y="358589"/>
            <a:ext cx="2044335" cy="1435165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8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Food –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a fact of life 2022</a:t>
            </a:r>
          </a:p>
        </p:txBody>
      </p:sp>
    </p:spTree>
    <p:extLst>
      <p:ext uri="{BB962C8B-B14F-4D97-AF65-F5344CB8AC3E}">
        <p14:creationId xmlns:p14="http://schemas.microsoft.com/office/powerpoint/2010/main" val="1328885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2679DA3-4731-48D3-8E36-CB7A653629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27965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2679DA3-4731-48D3-8E36-CB7A65362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7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22</a:t>
            </a:r>
          </a:p>
          <a:p>
            <a:pPr algn="r"/>
            <a:endParaRPr lang="en-US" sz="900" b="0" i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317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4E8F17B-CE4B-4D2B-BFE0-BF7FFE1964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52132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4E8F17B-CE4B-4D2B-BFE0-BF7FFE1964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7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22</a:t>
            </a:r>
          </a:p>
        </p:txBody>
      </p:sp>
    </p:spTree>
    <p:extLst>
      <p:ext uri="{BB962C8B-B14F-4D97-AF65-F5344CB8AC3E}">
        <p14:creationId xmlns:p14="http://schemas.microsoft.com/office/powerpoint/2010/main" val="1822393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C646FD-9780-4F7E-B8BB-C7185B1667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68864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C646FD-9780-4F7E-B8BB-C7185B1667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79973"/>
            <a:ext cx="12192000" cy="68580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7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22</a:t>
            </a:r>
          </a:p>
        </p:txBody>
      </p:sp>
    </p:spTree>
    <p:extLst>
      <p:ext uri="{BB962C8B-B14F-4D97-AF65-F5344CB8AC3E}">
        <p14:creationId xmlns:p14="http://schemas.microsoft.com/office/powerpoint/2010/main" val="1788143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hyperlink" Target="https://www.foodafactoflife.org.uk/whole-school/whole-school-approach/guidelines-for-school-education-resources-about-food/" TargetMode="Externa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15.png"/><Relationship Id="rId7" Type="http://schemas.openxmlformats.org/officeDocument/2006/relationships/image" Target="../media/image17.png"/><Relationship Id="rId12" Type="http://schemas.microsoft.com/office/2007/relationships/hdphoto" Target="../media/hdphoto4.wdp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Relationship Id="rId6" Type="http://schemas.microsoft.com/office/2007/relationships/hdphoto" Target="../media/hdphoto2.wdp"/><Relationship Id="rId11" Type="http://schemas.openxmlformats.org/officeDocument/2006/relationships/image" Target="../media/image19.png"/><Relationship Id="rId5" Type="http://schemas.openxmlformats.org/officeDocument/2006/relationships/image" Target="../media/image16.png"/><Relationship Id="rId10" Type="http://schemas.openxmlformats.org/officeDocument/2006/relationships/hyperlink" Target="https://thecookeryteacher.com/" TargetMode="External"/><Relationship Id="rId4" Type="http://schemas.microsoft.com/office/2007/relationships/hdphoto" Target="../media/hdphoto1.wdp"/><Relationship Id="rId9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CBAB5C4-5602-473B-9D95-400B1B769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408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CBAB5C4-5602-473B-9D95-400B1B7699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63000" y="3243801"/>
            <a:ext cx="9144000" cy="733096"/>
          </a:xfrm>
        </p:spPr>
        <p:txBody>
          <a:bodyPr vert="horz"/>
          <a:lstStyle/>
          <a:p>
            <a:r>
              <a:rPr lang="en-US" dirty="0"/>
              <a:t>Physical and chemical changes:</a:t>
            </a:r>
            <a:br>
              <a:rPr lang="en-US" dirty="0"/>
            </a:br>
            <a:r>
              <a:rPr lang="en-US" dirty="0"/>
              <a:t>Making and melting butter</a:t>
            </a:r>
          </a:p>
        </p:txBody>
      </p:sp>
    </p:spTree>
    <p:extLst>
      <p:ext uri="{BB962C8B-B14F-4D97-AF65-F5344CB8AC3E}">
        <p14:creationId xmlns:p14="http://schemas.microsoft.com/office/powerpoint/2010/main" val="19551663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ractic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727167-99CF-CCC2-9252-53D5420DAF5F}"/>
              </a:ext>
            </a:extLst>
          </p:cNvPr>
          <p:cNvSpPr txBox="1"/>
          <p:nvPr/>
        </p:nvSpPr>
        <p:spPr>
          <a:xfrm>
            <a:off x="1086492" y="2481679"/>
            <a:ext cx="609771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omplete the worksheet with the equipment you are going to need, the method to make butter and how you are going to stay safe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DA0914D-F8AA-D13F-B469-489CBBBDD4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43520" y="1631524"/>
            <a:ext cx="3321521" cy="483993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3981164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ractical: Making butt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727167-99CF-CCC2-9252-53D5420DAF5F}"/>
              </a:ext>
            </a:extLst>
          </p:cNvPr>
          <p:cNvSpPr txBox="1"/>
          <p:nvPr/>
        </p:nvSpPr>
        <p:spPr>
          <a:xfrm>
            <a:off x="1086492" y="2481679"/>
            <a:ext cx="4410182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Was making the butter a chemical or physical change?</a:t>
            </a: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Explain your answer.</a:t>
            </a: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 descr="A wooden spoon in a bowl of food&#10;&#10;Description automatically generated with medium confidence">
            <a:extLst>
              <a:ext uri="{FF2B5EF4-FFF2-40B4-BE49-F238E27FC236}">
                <a16:creationId xmlns:a16="http://schemas.microsoft.com/office/drawing/2014/main" id="{6C2A454A-8346-2969-5C6D-43C48C5687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97876" y="2654324"/>
            <a:ext cx="4366978" cy="2917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6637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49F38A-2811-8A0A-0903-F90C6CA9F35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Physical and chemical changes</a:t>
            </a:r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1663884-8A5D-DD9A-B4F0-E1EED248AA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3697861"/>
              </p:ext>
            </p:extLst>
          </p:nvPr>
        </p:nvGraphicFramePr>
        <p:xfrm>
          <a:off x="2038569" y="2330719"/>
          <a:ext cx="8310963" cy="368463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699101">
                  <a:extLst>
                    <a:ext uri="{9D8B030D-6E8A-4147-A177-3AD203B41FA5}">
                      <a16:colId xmlns:a16="http://schemas.microsoft.com/office/drawing/2014/main" val="1331182780"/>
                    </a:ext>
                  </a:extLst>
                </a:gridCol>
                <a:gridCol w="4611862">
                  <a:extLst>
                    <a:ext uri="{9D8B030D-6E8A-4147-A177-3AD203B41FA5}">
                      <a16:colId xmlns:a16="http://schemas.microsoft.com/office/drawing/2014/main" val="493437255"/>
                    </a:ext>
                  </a:extLst>
                </a:gridCol>
              </a:tblGrid>
              <a:tr h="618586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2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ysical chan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2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emical change​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88077538"/>
                  </a:ext>
                </a:extLst>
              </a:tr>
              <a:tr h="102201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n be revers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nnot be revers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2917297"/>
                  </a:ext>
                </a:extLst>
              </a:tr>
              <a:tr h="102201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new material form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2200" b="0" i="0" u="none" strike="noStrike" noProof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 material formed (that are different to starting material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09964739"/>
                  </a:ext>
                </a:extLst>
              </a:tr>
              <a:tr h="1022017"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22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nge in st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200" b="0" i="0" u="none" strike="noStrike" noProof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ten a </a:t>
                      </a:r>
                      <a:r>
                        <a:rPr lang="en-US" sz="2200" b="0" i="0" u="none" strike="noStrike" noProof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our</a:t>
                      </a:r>
                      <a:r>
                        <a:rPr lang="en-US" sz="2200" b="0" i="0" u="none" strike="noStrike" noProof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ang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581084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91265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0DCF5-2683-D163-08C9-4512217DFE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b="1" dirty="0"/>
              <a:t>Tweet about it</a:t>
            </a:r>
            <a:endParaRPr lang="en-GB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89CE226E-838B-F5D3-2047-CD549517E6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5377" y="2571092"/>
            <a:ext cx="8269115" cy="3240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87D90F2-48F3-BFD0-D9BD-CBEA7490881C}"/>
              </a:ext>
            </a:extLst>
          </p:cNvPr>
          <p:cNvSpPr txBox="1"/>
          <p:nvPr/>
        </p:nvSpPr>
        <p:spPr>
          <a:xfrm>
            <a:off x="2713104" y="3531511"/>
            <a:ext cx="734481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Summarise what you have covered today in 140 characters (that’s letters, numbers, punctuation </a:t>
            </a:r>
            <a:br>
              <a:rPr lang="en-GB" sz="2400" dirty="0"/>
            </a:br>
            <a:r>
              <a:rPr lang="en-GB" sz="2400" dirty="0"/>
              <a:t>AND spaces!)</a:t>
            </a:r>
          </a:p>
        </p:txBody>
      </p:sp>
    </p:spTree>
    <p:extLst>
      <p:ext uri="{BB962C8B-B14F-4D97-AF65-F5344CB8AC3E}">
        <p14:creationId xmlns:p14="http://schemas.microsoft.com/office/powerpoint/2010/main" val="20239445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49F38A-2811-8A0A-0903-F90C6CA9F35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Key words</a:t>
            </a:r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1663884-8A5D-DD9A-B4F0-E1EED248AA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3719288"/>
              </p:ext>
            </p:extLst>
          </p:nvPr>
        </p:nvGraphicFramePr>
        <p:xfrm>
          <a:off x="1169274" y="2586699"/>
          <a:ext cx="10232323" cy="2460953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580559">
                  <a:extLst>
                    <a:ext uri="{9D8B030D-6E8A-4147-A177-3AD203B41FA5}">
                      <a16:colId xmlns:a16="http://schemas.microsoft.com/office/drawing/2014/main" val="1331182780"/>
                    </a:ext>
                  </a:extLst>
                </a:gridCol>
                <a:gridCol w="7651764">
                  <a:extLst>
                    <a:ext uri="{9D8B030D-6E8A-4147-A177-3AD203B41FA5}">
                      <a16:colId xmlns:a16="http://schemas.microsoft.com/office/drawing/2014/main" val="493437255"/>
                    </a:ext>
                  </a:extLst>
                </a:gridCol>
              </a:tblGrid>
              <a:tr h="690124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000" b="1" dirty="0">
                          <a:effectLst/>
                          <a:latin typeface="Arial"/>
                        </a:rPr>
                        <a:t>Key word​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000" dirty="0">
                          <a:effectLst/>
                          <a:latin typeface="Arial"/>
                        </a:rPr>
                        <a:t>Meaning​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88077538"/>
                  </a:ext>
                </a:extLst>
              </a:tr>
              <a:tr h="69012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ysical rea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reaction that is reversible (this means you can change it back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2917297"/>
                  </a:ext>
                </a:extLst>
              </a:tr>
              <a:tr h="108070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emical rea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2000" b="0" i="0" u="none" strike="noStrike" noProof="0" dirty="0">
                          <a:effectLst/>
                          <a:latin typeface="Arial"/>
                        </a:rPr>
                        <a:t>A reaction that is irreversible (this means that you can’t change it back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099647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00368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734D3D-C20B-4ED7-8C51-1867D1A2605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eachers’ gu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96642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B040530-858F-4412-BE1A-FA5CC63D27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9486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B040530-858F-4412-BE1A-FA5CC63D27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latin typeface="Arial"/>
                <a:cs typeface="Arial"/>
              </a:rPr>
              <a:t>Teaching about butter</a:t>
            </a:r>
            <a:endParaRPr lang="en-GB" dirty="0">
              <a:latin typeface="Arial"/>
              <a:cs typeface="Arial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9389671" cy="3600000"/>
          </a:xfrm>
        </p:spPr>
        <p:txBody>
          <a:bodyPr/>
          <a:lstStyle/>
          <a:p>
            <a:r>
              <a:rPr lang="en-GB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plain the difference between a chemical and physical reaction and give examples of each.</a:t>
            </a:r>
          </a:p>
          <a:p>
            <a:r>
              <a:rPr lang="en-GB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k 3 things that indicate a chemical reaction has happened.</a:t>
            </a:r>
          </a:p>
          <a:p>
            <a:r>
              <a:rPr lang="en-GB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k 3 things that indicate a physical reaction has happened</a:t>
            </a:r>
          </a:p>
          <a:p>
            <a:r>
              <a:rPr lang="en-GB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lan and carry out a practical activity.</a:t>
            </a:r>
          </a:p>
          <a:p>
            <a:r>
              <a:rPr lang="en-GB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sider safety within a practical activity.</a:t>
            </a:r>
          </a:p>
          <a:p>
            <a:pPr lvl="0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39732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What happens as butter is formed?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4" y="2283798"/>
            <a:ext cx="9400754" cy="3600000"/>
          </a:xfrm>
        </p:spPr>
        <p:txBody>
          <a:bodyPr/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reaminess is a </a:t>
            </a:r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sensory factor</a:t>
            </a: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, an emulsion of lots of tiny fat globules suspended in a small amount of liquid. </a:t>
            </a:r>
          </a:p>
          <a:p>
            <a:r>
              <a:rPr lang="en-GB" b="1" dirty="0"/>
              <a:t>Butter</a:t>
            </a:r>
            <a:r>
              <a:rPr lang="en-GB" dirty="0"/>
              <a:t> can be made by the simple process of whipping cream – but it’s a different route than that of churning.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b="1" dirty="0"/>
              <a:t>Whipped </a:t>
            </a:r>
            <a:r>
              <a:rPr lang="en-GB" dirty="0"/>
              <a:t>cream is a </a:t>
            </a:r>
            <a:r>
              <a:rPr lang="en-GB" b="1" dirty="0"/>
              <a:t>foam</a:t>
            </a:r>
            <a:r>
              <a:rPr lang="en-GB" dirty="0"/>
              <a:t> – air bubbles trapped between fat molecules suspended in liquid.  During whipping the fat molecules collide and thicken the foam.  </a:t>
            </a:r>
          </a:p>
          <a:p>
            <a:r>
              <a:rPr lang="en-GB" dirty="0"/>
              <a:t>If cream is overwhipped the fat membranes are damaged and the fats join together forming bigger fat blobs.  These push out the air from the foam and the mixture deflates.  </a:t>
            </a:r>
          </a:p>
          <a:p>
            <a:r>
              <a:rPr lang="en-GB" b="1" dirty="0"/>
              <a:t>Butter </a:t>
            </a:r>
            <a:r>
              <a:rPr lang="en-GB" dirty="0"/>
              <a:t>curds appear firstly as ‘curdles’ and then if whipping continues as larger pieces of butter.  </a:t>
            </a:r>
            <a:r>
              <a:rPr lang="en-GB" b="1" dirty="0"/>
              <a:t>Buttermilk</a:t>
            </a:r>
            <a:r>
              <a:rPr lang="en-GB" dirty="0"/>
              <a:t> is released as a watery fluid.  This is irreversible.</a:t>
            </a:r>
          </a:p>
          <a:p>
            <a:pPr marL="457200" indent="-457200">
              <a:buFont typeface="Arial"/>
              <a:buChar char="•"/>
            </a:pP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7134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Emulsions in butter and milk</a:t>
            </a:r>
          </a:p>
        </p:txBody>
      </p:sp>
      <p:sp>
        <p:nvSpPr>
          <p:cNvPr id="1064" name="Rectangle 1063">
            <a:extLst>
              <a:ext uri="{FF2B5EF4-FFF2-40B4-BE49-F238E27FC236}">
                <a16:creationId xmlns:a16="http://schemas.microsoft.com/office/drawing/2014/main" id="{56168A46-7AC3-8692-E00A-F82A16A51A88}"/>
              </a:ext>
            </a:extLst>
          </p:cNvPr>
          <p:cNvSpPr/>
          <p:nvPr/>
        </p:nvSpPr>
        <p:spPr>
          <a:xfrm>
            <a:off x="2392971" y="5949993"/>
            <a:ext cx="27921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Water in oil (fat) emulsion</a:t>
            </a:r>
          </a:p>
        </p:txBody>
      </p:sp>
      <p:sp>
        <p:nvSpPr>
          <p:cNvPr id="1065" name="Rectangle 1064">
            <a:extLst>
              <a:ext uri="{FF2B5EF4-FFF2-40B4-BE49-F238E27FC236}">
                <a16:creationId xmlns:a16="http://schemas.microsoft.com/office/drawing/2014/main" id="{B5A67BE7-1DA9-F5AB-0BFC-9B8A5BF7CB21}"/>
              </a:ext>
            </a:extLst>
          </p:cNvPr>
          <p:cNvSpPr/>
          <p:nvPr/>
        </p:nvSpPr>
        <p:spPr>
          <a:xfrm>
            <a:off x="6624368" y="5949993"/>
            <a:ext cx="23262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Oil in water emulsion</a:t>
            </a:r>
          </a:p>
        </p:txBody>
      </p:sp>
      <p:sp>
        <p:nvSpPr>
          <p:cNvPr id="1066" name="Rectangle 1065">
            <a:extLst>
              <a:ext uri="{FF2B5EF4-FFF2-40B4-BE49-F238E27FC236}">
                <a16:creationId xmlns:a16="http://schemas.microsoft.com/office/drawing/2014/main" id="{D3F056AC-67C0-5E30-09D3-9B25C1814048}"/>
              </a:ext>
            </a:extLst>
          </p:cNvPr>
          <p:cNvSpPr/>
          <p:nvPr/>
        </p:nvSpPr>
        <p:spPr>
          <a:xfrm>
            <a:off x="3256085" y="2476028"/>
            <a:ext cx="8643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Butter</a:t>
            </a:r>
          </a:p>
        </p:txBody>
      </p:sp>
      <p:sp>
        <p:nvSpPr>
          <p:cNvPr id="1067" name="Rectangle 1066">
            <a:extLst>
              <a:ext uri="{FF2B5EF4-FFF2-40B4-BE49-F238E27FC236}">
                <a16:creationId xmlns:a16="http://schemas.microsoft.com/office/drawing/2014/main" id="{69803CA5-EA90-A1FB-F324-DA6D6B262B62}"/>
              </a:ext>
            </a:extLst>
          </p:cNvPr>
          <p:cNvSpPr/>
          <p:nvPr/>
        </p:nvSpPr>
        <p:spPr>
          <a:xfrm>
            <a:off x="7489989" y="2492428"/>
            <a:ext cx="6335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Milk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21460D1-B0ED-B2B9-21B4-00E7C99BFB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93" t="17689" r="1736" b="3465"/>
          <a:stretch/>
        </p:blipFill>
        <p:spPr bwMode="auto">
          <a:xfrm>
            <a:off x="2351851" y="2973081"/>
            <a:ext cx="2874416" cy="2734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62477B5-2550-7564-63EA-4392BF532A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4" t="17835" r="50129" b="3669"/>
          <a:stretch/>
        </p:blipFill>
        <p:spPr bwMode="auto">
          <a:xfrm>
            <a:off x="6330908" y="3005628"/>
            <a:ext cx="2913199" cy="270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68149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e science of making butt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6461659" cy="3600000"/>
          </a:xfrm>
        </p:spPr>
        <p:txBody>
          <a:bodyPr/>
          <a:lstStyle/>
          <a:p>
            <a:pPr marL="0" indent="0">
              <a:buNone/>
            </a:pPr>
            <a:r>
              <a:rPr lang="en-GB" sz="2000" dirty="0"/>
              <a:t>Butter can be made in a food processor, using a hand mixer or in a jar. The key is agitation.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Cream that is agitated (whisked)  incorporates air and becomes thicker.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Continued  agitation causes the little globules of fat to collide, damaging their walls and allowing the hydrophobic  (water-fearing) regions to clump together.</a:t>
            </a:r>
          </a:p>
        </p:txBody>
      </p:sp>
      <p:pic>
        <p:nvPicPr>
          <p:cNvPr id="4" name="Picture 3" descr="A wooden spoon in a bowl of food&#10;&#10;Description automatically generated with medium confidence">
            <a:extLst>
              <a:ext uri="{FF2B5EF4-FFF2-40B4-BE49-F238E27FC236}">
                <a16:creationId xmlns:a16="http://schemas.microsoft.com/office/drawing/2014/main" id="{F2AF75F6-9FE4-D3F5-7DF7-AF267B59CB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0058" y="2788851"/>
            <a:ext cx="3932330" cy="2626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5003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549B0D-4DC3-B2FC-A2FE-23DD11D2EA5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Starter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0A16CCB-C019-8176-7341-50C01AC6E1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9276" y="2571092"/>
            <a:ext cx="4142463" cy="3600000"/>
          </a:xfrm>
        </p:spPr>
        <p:txBody>
          <a:bodyPr/>
          <a:lstStyle/>
          <a:p>
            <a:pPr marL="0" indent="0">
              <a:buNone/>
            </a:pPr>
            <a:r>
              <a:rPr lang="en-GB" sz="2000" dirty="0"/>
              <a:t>Where does the butter come from?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sz="2000" dirty="0"/>
              <a:t>What nutrients are found in butter?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sz="2000" dirty="0"/>
              <a:t>What is butter used for?</a:t>
            </a:r>
          </a:p>
        </p:txBody>
      </p:sp>
      <p:pic>
        <p:nvPicPr>
          <p:cNvPr id="4" name="Picture 3" descr="A cheese on a cutting board&#10;&#10;Description automatically generated with low confidence">
            <a:extLst>
              <a:ext uri="{FF2B5EF4-FFF2-40B4-BE49-F238E27FC236}">
                <a16:creationId xmlns:a16="http://schemas.microsoft.com/office/drawing/2014/main" id="{DB239939-3744-4B65-484F-48857D118D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86241" y="2351508"/>
            <a:ext cx="4411835" cy="2942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1496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e science of making butt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727167-99CF-CCC2-9252-53D5420DAF5F}"/>
              </a:ext>
            </a:extLst>
          </p:cNvPr>
          <p:cNvSpPr txBox="1"/>
          <p:nvPr/>
        </p:nvSpPr>
        <p:spPr>
          <a:xfrm>
            <a:off x="1086492" y="2481679"/>
            <a:ext cx="6097712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Fatty triglycerides gather into a mass of butter, separating from the buttermilk (watery liquid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Incorporated air is expelled, two phases remain - fat and buttermilk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Butter is 82% fat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It is a water in oil emulsion.</a:t>
            </a:r>
          </a:p>
        </p:txBody>
      </p:sp>
      <p:pic>
        <p:nvPicPr>
          <p:cNvPr id="5" name="Picture 4" descr="A picture containing table, indoor, plate, kitchenware&#10;&#10;Description automatically generated">
            <a:extLst>
              <a:ext uri="{FF2B5EF4-FFF2-40B4-BE49-F238E27FC236}">
                <a16:creationId xmlns:a16="http://schemas.microsoft.com/office/drawing/2014/main" id="{EDC5736B-ABAB-CBD6-BB39-5BEA050C3C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03821" y="2680833"/>
            <a:ext cx="4043042" cy="2676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7184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A84C499-0517-4887-96DB-81C9129ABB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3096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A84C499-0517-4887-96DB-81C9129ABB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Physical and chemical changes:</a:t>
            </a:r>
            <a:br>
              <a:rPr lang="en-GB" dirty="0"/>
            </a:br>
            <a:r>
              <a:rPr lang="en-GB" dirty="0"/>
              <a:t>Making and melting butt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GB" sz="3600"/>
              <a:t>For further information, go to:</a:t>
            </a:r>
          </a:p>
          <a:p>
            <a:pPr marL="0" indent="0" algn="ctr">
              <a:buNone/>
            </a:pPr>
            <a:r>
              <a:rPr lang="en-GB" sz="3600"/>
              <a:t>www.foodafactoflife.org.uk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8C3A9D8-F056-4907-ADD0-8B883B971968}"/>
              </a:ext>
            </a:extLst>
          </p:cNvPr>
          <p:cNvSpPr txBox="1"/>
          <p:nvPr/>
        </p:nvSpPr>
        <p:spPr>
          <a:xfrm>
            <a:off x="486577" y="6116351"/>
            <a:ext cx="99043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This resource meets the</a:t>
            </a:r>
            <a:r>
              <a:rPr lang="en-GB" sz="1400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1" i="1" u="sng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Guidelines for producers and users of school education resources about food</a:t>
            </a:r>
            <a:r>
              <a:rPr lang="en-GB" sz="1400" b="1" i="1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FCF2B4-7109-83EA-5876-50510644FFA9}"/>
              </a:ext>
            </a:extLst>
          </p:cNvPr>
          <p:cNvSpPr txBox="1"/>
          <p:nvPr/>
        </p:nvSpPr>
        <p:spPr>
          <a:xfrm>
            <a:off x="1328244" y="5083169"/>
            <a:ext cx="95355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This resource was produced for the </a:t>
            </a:r>
            <a:r>
              <a:rPr lang="en-GB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pHood</a:t>
            </a:r>
            <a:r>
              <a:rPr lang="en-GB" sz="1400" i="1" dirty="0">
                <a:latin typeface="Arial" panose="020B0604020202020204" pitchFamily="34" charset="0"/>
                <a:cs typeface="Arial" panose="020B0604020202020204" pitchFamily="34" charset="0"/>
              </a:rPr>
              <a:t> Futures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project, supported by the Royal Society of Chemistry.</a:t>
            </a:r>
          </a:p>
        </p:txBody>
      </p:sp>
    </p:spTree>
    <p:extLst>
      <p:ext uri="{BB962C8B-B14F-4D97-AF65-F5344CB8AC3E}">
        <p14:creationId xmlns:p14="http://schemas.microsoft.com/office/powerpoint/2010/main" val="23020051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ere are physical and chemical reac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727167-99CF-CCC2-9252-53D5420DAF5F}"/>
              </a:ext>
            </a:extLst>
          </p:cNvPr>
          <p:cNvSpPr txBox="1"/>
          <p:nvPr/>
        </p:nvSpPr>
        <p:spPr>
          <a:xfrm>
            <a:off x="1035822" y="2217329"/>
            <a:ext cx="985345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Have a look at the following reactions. </a:t>
            </a: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onsider: Can you get back what you started with? (Reversible) Or is it changed forever? (Irreversible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F62F0E2-F3B7-454D-872E-0EC9A80867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720" r="59039"/>
          <a:stretch/>
        </p:blipFill>
        <p:spPr>
          <a:xfrm>
            <a:off x="695860" y="3558540"/>
            <a:ext cx="2336071" cy="2774198"/>
          </a:xfrm>
          <a:prstGeom prst="rect">
            <a:avLst/>
          </a:prstGeom>
        </p:spPr>
      </p:pic>
      <p:pic>
        <p:nvPicPr>
          <p:cNvPr id="6" name="Picture 5" descr="A picture containing tree, outdoor, nature, grass&#10;&#10;Description automatically generated">
            <a:extLst>
              <a:ext uri="{FF2B5EF4-FFF2-40B4-BE49-F238E27FC236}">
                <a16:creationId xmlns:a16="http://schemas.microsoft.com/office/drawing/2014/main" id="{D5387A0F-505A-033E-4883-C8774304B06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641" r="26413"/>
          <a:stretch/>
        </p:blipFill>
        <p:spPr>
          <a:xfrm>
            <a:off x="3441756" y="3558540"/>
            <a:ext cx="2259347" cy="2793495"/>
          </a:xfrm>
          <a:prstGeom prst="rect">
            <a:avLst/>
          </a:prstGeom>
        </p:spPr>
      </p:pic>
      <p:pic>
        <p:nvPicPr>
          <p:cNvPr id="11" name="Picture 10" descr="A picture containing hydrozoan&#10;&#10;Description automatically generated">
            <a:extLst>
              <a:ext uri="{FF2B5EF4-FFF2-40B4-BE49-F238E27FC236}">
                <a16:creationId xmlns:a16="http://schemas.microsoft.com/office/drawing/2014/main" id="{46817FE3-66A9-7C78-65EF-F56FD9EAEA6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923" r="41331"/>
          <a:stretch/>
        </p:blipFill>
        <p:spPr>
          <a:xfrm>
            <a:off x="6131670" y="3558541"/>
            <a:ext cx="2367350" cy="2793494"/>
          </a:xfrm>
          <a:prstGeom prst="rect">
            <a:avLst/>
          </a:prstGeom>
        </p:spPr>
      </p:pic>
      <p:pic>
        <p:nvPicPr>
          <p:cNvPr id="15" name="Picture 14" descr="A pile of pretzels&#10;&#10;Description automatically generated with medium confidence">
            <a:extLst>
              <a:ext uri="{FF2B5EF4-FFF2-40B4-BE49-F238E27FC236}">
                <a16:creationId xmlns:a16="http://schemas.microsoft.com/office/drawing/2014/main" id="{786DEA8D-C9E6-8F16-CFE1-7AE9AF89749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7354"/>
          <a:stretch/>
        </p:blipFill>
        <p:spPr>
          <a:xfrm>
            <a:off x="8929587" y="3542970"/>
            <a:ext cx="2201941" cy="2789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1222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ere are physical and chemical reac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727167-99CF-CCC2-9252-53D5420DAF5F}"/>
              </a:ext>
            </a:extLst>
          </p:cNvPr>
          <p:cNvSpPr txBox="1"/>
          <p:nvPr/>
        </p:nvSpPr>
        <p:spPr>
          <a:xfrm>
            <a:off x="1169274" y="2092472"/>
            <a:ext cx="985345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Have a look at the following reactions. </a:t>
            </a: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onsider: Can you get back what you started with? (Reversible) Or is it changed forever? (Irreversible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5CDF475-93A8-0FDC-4892-BA2D8428B00A}"/>
              </a:ext>
            </a:extLst>
          </p:cNvPr>
          <p:cNvSpPr txBox="1"/>
          <p:nvPr/>
        </p:nvSpPr>
        <p:spPr>
          <a:xfrm>
            <a:off x="859902" y="6167199"/>
            <a:ext cx="151836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200" dirty="0">
                <a:latin typeface="Arial" panose="020B0604020202020204" pitchFamily="34" charset="0"/>
                <a:cs typeface="Arial" panose="020B0604020202020204" pitchFamily="34" charset="0"/>
              </a:rPr>
              <a:t>Reversib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3CC12D-705F-71C3-0081-004AC24AF59E}"/>
              </a:ext>
            </a:extLst>
          </p:cNvPr>
          <p:cNvSpPr txBox="1"/>
          <p:nvPr/>
        </p:nvSpPr>
        <p:spPr>
          <a:xfrm>
            <a:off x="6780232" y="6167199"/>
            <a:ext cx="151836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200" dirty="0">
                <a:latin typeface="Arial" panose="020B0604020202020204" pitchFamily="34" charset="0"/>
                <a:cs typeface="Arial" panose="020B0604020202020204" pitchFamily="34" charset="0"/>
              </a:rPr>
              <a:t>Reversib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150250-D0F3-5844-3416-83F2AE2DAD5C}"/>
              </a:ext>
            </a:extLst>
          </p:cNvPr>
          <p:cNvSpPr txBox="1"/>
          <p:nvPr/>
        </p:nvSpPr>
        <p:spPr>
          <a:xfrm>
            <a:off x="3780187" y="6167198"/>
            <a:ext cx="158248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200" dirty="0">
                <a:latin typeface="Arial" panose="020B0604020202020204" pitchFamily="34" charset="0"/>
                <a:cs typeface="Arial" panose="020B0604020202020204" pitchFamily="34" charset="0"/>
              </a:rPr>
              <a:t>Irreversib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29D331-302E-9707-E540-D7C8FFA1BC67}"/>
              </a:ext>
            </a:extLst>
          </p:cNvPr>
          <p:cNvSpPr txBox="1"/>
          <p:nvPr/>
        </p:nvSpPr>
        <p:spPr>
          <a:xfrm>
            <a:off x="9687453" y="6167197"/>
            <a:ext cx="158248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200" dirty="0">
                <a:latin typeface="Arial" panose="020B0604020202020204" pitchFamily="34" charset="0"/>
                <a:cs typeface="Arial" panose="020B0604020202020204" pitchFamily="34" charset="0"/>
              </a:rPr>
              <a:t>Irreversib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A2E8A09-B7B0-1D51-DA35-2ECB5DCC2A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720" r="59039"/>
          <a:stretch/>
        </p:blipFill>
        <p:spPr>
          <a:xfrm>
            <a:off x="451049" y="3429000"/>
            <a:ext cx="2336071" cy="2774198"/>
          </a:xfrm>
          <a:prstGeom prst="rect">
            <a:avLst/>
          </a:prstGeom>
        </p:spPr>
      </p:pic>
      <p:pic>
        <p:nvPicPr>
          <p:cNvPr id="16" name="Picture 15" descr="A picture containing tree, outdoor, nature, grass&#10;&#10;Description automatically generated">
            <a:extLst>
              <a:ext uri="{FF2B5EF4-FFF2-40B4-BE49-F238E27FC236}">
                <a16:creationId xmlns:a16="http://schemas.microsoft.com/office/drawing/2014/main" id="{6AA1E99F-2866-4EC9-60F7-311CC506EA8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641" r="26413"/>
          <a:stretch/>
        </p:blipFill>
        <p:spPr>
          <a:xfrm>
            <a:off x="3441756" y="3429000"/>
            <a:ext cx="2259347" cy="2793495"/>
          </a:xfrm>
          <a:prstGeom prst="rect">
            <a:avLst/>
          </a:prstGeom>
        </p:spPr>
      </p:pic>
      <p:pic>
        <p:nvPicPr>
          <p:cNvPr id="17" name="Picture 16" descr="A picture containing hydrozoan&#10;&#10;Description automatically generated">
            <a:extLst>
              <a:ext uri="{FF2B5EF4-FFF2-40B4-BE49-F238E27FC236}">
                <a16:creationId xmlns:a16="http://schemas.microsoft.com/office/drawing/2014/main" id="{52ECC449-373F-FC83-1837-8426AD6B437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923" r="41331"/>
          <a:stretch/>
        </p:blipFill>
        <p:spPr>
          <a:xfrm>
            <a:off x="6355739" y="3429001"/>
            <a:ext cx="2367350" cy="2793494"/>
          </a:xfrm>
          <a:prstGeom prst="rect">
            <a:avLst/>
          </a:prstGeom>
        </p:spPr>
      </p:pic>
      <p:pic>
        <p:nvPicPr>
          <p:cNvPr id="18" name="Picture 17" descr="A pile of pretzels&#10;&#10;Description automatically generated with medium confidence">
            <a:extLst>
              <a:ext uri="{FF2B5EF4-FFF2-40B4-BE49-F238E27FC236}">
                <a16:creationId xmlns:a16="http://schemas.microsoft.com/office/drawing/2014/main" id="{E9B05CD2-6CC8-3A9E-289D-1B7FD6445EC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7354"/>
          <a:stretch/>
        </p:blipFill>
        <p:spPr>
          <a:xfrm>
            <a:off x="9377725" y="3429000"/>
            <a:ext cx="2201941" cy="2789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5788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ere are physical and chemical reac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727167-99CF-CCC2-9252-53D5420DAF5F}"/>
              </a:ext>
            </a:extLst>
          </p:cNvPr>
          <p:cNvSpPr txBox="1"/>
          <p:nvPr/>
        </p:nvSpPr>
        <p:spPr>
          <a:xfrm>
            <a:off x="1144296" y="2625195"/>
            <a:ext cx="4810284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Physical Reaction</a:t>
            </a: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A reaction that is reversible (this means you can change it back).</a:t>
            </a: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Chemical reaction</a:t>
            </a: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A reaction that is irreversible (this means that you can’t change it back).</a:t>
            </a: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CE7C319-0ADA-30B1-8D70-E9CCDD97ABB7}"/>
              </a:ext>
            </a:extLst>
          </p:cNvPr>
          <p:cNvSpPr txBox="1"/>
          <p:nvPr/>
        </p:nvSpPr>
        <p:spPr>
          <a:xfrm>
            <a:off x="6637523" y="2943343"/>
            <a:ext cx="4810285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Examples of physical changes including boiling, melting, freezing.</a:t>
            </a: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hemical changes include burning, cooking, rusting, and rotting. </a:t>
            </a:r>
          </a:p>
        </p:txBody>
      </p:sp>
    </p:spTree>
    <p:extLst>
      <p:ext uri="{BB962C8B-B14F-4D97-AF65-F5344CB8AC3E}">
        <p14:creationId xmlns:p14="http://schemas.microsoft.com/office/powerpoint/2010/main" val="14972209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Butter: Melting and Mak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727167-99CF-CCC2-9252-53D5420DAF5F}"/>
              </a:ext>
            </a:extLst>
          </p:cNvPr>
          <p:cNvSpPr txBox="1"/>
          <p:nvPr/>
        </p:nvSpPr>
        <p:spPr>
          <a:xfrm>
            <a:off x="1086492" y="2481679"/>
            <a:ext cx="4410182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Today we are going to look at melting butter and making butter.</a:t>
            </a: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A wooden spoon in a bowl of food&#10;&#10;Description automatically generated with medium confidence">
            <a:extLst>
              <a:ext uri="{FF2B5EF4-FFF2-40B4-BE49-F238E27FC236}">
                <a16:creationId xmlns:a16="http://schemas.microsoft.com/office/drawing/2014/main" id="{CECB7682-E799-9490-DC1A-EB8DF9900F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97876" y="2654324"/>
            <a:ext cx="4366978" cy="2917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8029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Butter: Melting demonstr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727167-99CF-CCC2-9252-53D5420DAF5F}"/>
              </a:ext>
            </a:extLst>
          </p:cNvPr>
          <p:cNvSpPr txBox="1"/>
          <p:nvPr/>
        </p:nvSpPr>
        <p:spPr>
          <a:xfrm>
            <a:off x="1086492" y="2481679"/>
            <a:ext cx="4933308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Was heating and melting the butter a chemical or physical change?</a:t>
            </a: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What if the butter starts to burn?</a:t>
            </a: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Explain your answers.</a:t>
            </a: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A picture containing food, butter&#10;&#10;Description automatically generated">
            <a:extLst>
              <a:ext uri="{FF2B5EF4-FFF2-40B4-BE49-F238E27FC236}">
                <a16:creationId xmlns:a16="http://schemas.microsoft.com/office/drawing/2014/main" id="{CEE85929-1BF3-7C08-8E25-692CF926A1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82989" y="2591733"/>
            <a:ext cx="4410182" cy="3029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0655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Butter: Melting and Mak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727167-99CF-CCC2-9252-53D5420DAF5F}"/>
              </a:ext>
            </a:extLst>
          </p:cNvPr>
          <p:cNvSpPr txBox="1"/>
          <p:nvPr/>
        </p:nvSpPr>
        <p:spPr>
          <a:xfrm>
            <a:off x="1086492" y="2481679"/>
            <a:ext cx="4410182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If butter is melted to become a liquid, it is a reversible change because it can become solid again by freezing.</a:t>
            </a: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If the butter is continually heated until it burns, a chemical change happens which means it is an irreversible change.</a:t>
            </a: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F58DE83-E4B2-2498-405C-8BEF2631DED6}"/>
              </a:ext>
            </a:extLst>
          </p:cNvPr>
          <p:cNvSpPr txBox="1"/>
          <p:nvPr/>
        </p:nvSpPr>
        <p:spPr>
          <a:xfrm>
            <a:off x="6642761" y="2860610"/>
            <a:ext cx="133081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2200" b="1" dirty="0">
                <a:latin typeface="Arial" panose="020B0604020202020204" pitchFamily="34" charset="0"/>
                <a:cs typeface="Arial" panose="020B0604020202020204" pitchFamily="34" charset="0"/>
              </a:rPr>
              <a:t>Phys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5D30B9-D455-E71E-67E0-0EF4E416D348}"/>
              </a:ext>
            </a:extLst>
          </p:cNvPr>
          <p:cNvSpPr txBox="1"/>
          <p:nvPr/>
        </p:nvSpPr>
        <p:spPr>
          <a:xfrm>
            <a:off x="6533757" y="5128557"/>
            <a:ext cx="143981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2200" b="1" dirty="0">
                <a:latin typeface="Arial" panose="020B0604020202020204" pitchFamily="34" charset="0"/>
                <a:cs typeface="Arial" panose="020B0604020202020204" pitchFamily="34" charset="0"/>
              </a:rPr>
              <a:t>Chemical</a:t>
            </a:r>
          </a:p>
        </p:txBody>
      </p:sp>
      <p:pic>
        <p:nvPicPr>
          <p:cNvPr id="3" name="Picture 2" descr="A picture containing food, butter&#10;&#10;Description automatically generated">
            <a:extLst>
              <a:ext uri="{FF2B5EF4-FFF2-40B4-BE49-F238E27FC236}">
                <a16:creationId xmlns:a16="http://schemas.microsoft.com/office/drawing/2014/main" id="{384FF956-A33F-9C2A-4B0E-A26FCD2745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19607" y="1824950"/>
            <a:ext cx="3318259" cy="2279644"/>
          </a:xfrm>
          <a:prstGeom prst="rect">
            <a:avLst/>
          </a:prstGeom>
        </p:spPr>
      </p:pic>
      <p:pic>
        <p:nvPicPr>
          <p:cNvPr id="10" name="Picture 9" descr="A spoon in a bowl of food&#10;&#10;Description automatically generated with low confidence">
            <a:extLst>
              <a:ext uri="{FF2B5EF4-FFF2-40B4-BE49-F238E27FC236}">
                <a16:creationId xmlns:a16="http://schemas.microsoft.com/office/drawing/2014/main" id="{00ED6959-A2CB-8ED4-8CAA-3D7263C01A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49639" y="4104594"/>
            <a:ext cx="3058194" cy="203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7288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ractical: Making butt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727167-99CF-CCC2-9252-53D5420DAF5F}"/>
              </a:ext>
            </a:extLst>
          </p:cNvPr>
          <p:cNvSpPr txBox="1"/>
          <p:nvPr/>
        </p:nvSpPr>
        <p:spPr>
          <a:xfrm>
            <a:off x="1086492" y="2481679"/>
            <a:ext cx="6097712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Instructions</a:t>
            </a: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Weigh the empty container (a plastic screw top jar.</a:t>
            </a:r>
          </a:p>
          <a:p>
            <a:pPr marL="457200" indent="-457200">
              <a:buFont typeface="Arial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Pour in 125ml double cream, weigh the cream in the jar.</a:t>
            </a:r>
          </a:p>
          <a:p>
            <a:pPr marL="457200" indent="-457200">
              <a:buFont typeface="Arial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Screw on lid.</a:t>
            </a:r>
          </a:p>
          <a:p>
            <a:pPr marL="457200" indent="-457200">
              <a:buFont typeface="Arial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Shake until you hear the butter has split.  </a:t>
            </a:r>
          </a:p>
          <a:p>
            <a:pPr marL="457200" indent="-457200">
              <a:buFont typeface="Arial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Drain.</a:t>
            </a:r>
          </a:p>
          <a:p>
            <a:pPr marL="457200" indent="-457200">
              <a:buFont typeface="Arial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Weigh the butter produced.  </a:t>
            </a:r>
          </a:p>
          <a:p>
            <a:pPr marL="457200" indent="-457200">
              <a:buFont typeface="Arial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Press into moulds, chill.  </a:t>
            </a:r>
          </a:p>
        </p:txBody>
      </p:sp>
      <p:pic>
        <p:nvPicPr>
          <p:cNvPr id="3" name="Content Placeholder 4">
            <a:extLst>
              <a:ext uri="{FF2B5EF4-FFF2-40B4-BE49-F238E27FC236}">
                <a16:creationId xmlns:a16="http://schemas.microsoft.com/office/drawing/2014/main" id="{EA32A8DB-5D2E-F438-B05C-D1F012AE9B9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8057753" y="1923798"/>
            <a:ext cx="1354685" cy="139952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0C5BD43-5EE1-2FF9-7ED4-10AD6487BB4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8057752" y="3534678"/>
            <a:ext cx="1354685" cy="13182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F26263-56DC-BB39-E634-89305CFE4B4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390"/>
          <a:stretch/>
        </p:blipFill>
        <p:spPr>
          <a:xfrm flipH="1">
            <a:off x="10133378" y="1934158"/>
            <a:ext cx="1476836" cy="13891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75EE80E-CBF2-51BD-C0E1-E896B775D4A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10114669" y="3687240"/>
            <a:ext cx="1549210" cy="115045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6EE7C44-175A-E672-D24F-8DE8F480386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8221624" y="5079238"/>
            <a:ext cx="1111076" cy="106887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A8B5313-8AF7-C16A-C2ED-11E3CEDECF02}"/>
              </a:ext>
            </a:extLst>
          </p:cNvPr>
          <p:cNvSpPr txBox="1"/>
          <p:nvPr/>
        </p:nvSpPr>
        <p:spPr>
          <a:xfrm>
            <a:off x="8643966" y="6158535"/>
            <a:ext cx="24637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hlinkClick r:id="rId10"/>
              </a:rPr>
              <a:t>Thecookeryteacher.com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9E8C30D-9F85-A5F6-2D6D-06594315BF80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263" t="10178" r="14563" b="7135"/>
          <a:stretch/>
        </p:blipFill>
        <p:spPr>
          <a:xfrm>
            <a:off x="10097191" y="5079237"/>
            <a:ext cx="1496420" cy="1068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0105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c53071f4-7f44-43fd-895c-8e7b6a3746b0" xsi:nil="true"/>
    <_Flow_SignoffStatus xmlns="c53071f4-7f44-43fd-895c-8e7b6a3746b0" xsi:nil="true"/>
    <SharedWithUsers xmlns="ead97cfe-a968-427f-b02b-893e6ba0355a">
      <UserInfo>
        <DisplayName/>
        <AccountId xsi:nil="true"/>
        <AccountType/>
      </UserInfo>
    </SharedWithUsers>
    <TaxCatchAll xmlns="ead97cfe-a968-427f-b02b-893e6ba0355a" xsi:nil="true"/>
    <lcf76f155ced4ddcb4097134ff3c332f xmlns="c53071f4-7f44-43fd-895c-8e7b6a3746b0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5B78CA333243439763E4169A5FEB7F" ma:contentTypeVersion="17" ma:contentTypeDescription="Create a new document." ma:contentTypeScope="" ma:versionID="f2c597ebce0aa0fd5759700e14dd3adc">
  <xsd:schema xmlns:xsd="http://www.w3.org/2001/XMLSchema" xmlns:xs="http://www.w3.org/2001/XMLSchema" xmlns:p="http://schemas.microsoft.com/office/2006/metadata/properties" xmlns:ns2="c53071f4-7f44-43fd-895c-8e7b6a3746b0" xmlns:ns3="ead97cfe-a968-427f-b02b-893e6ba0355a" targetNamespace="http://schemas.microsoft.com/office/2006/metadata/properties" ma:root="true" ma:fieldsID="27039d98634059a90188b6cb8bc5e987" ns2:_="" ns3:_="">
    <xsd:import namespace="c53071f4-7f44-43fd-895c-8e7b6a3746b0"/>
    <xsd:import namespace="ead97cfe-a968-427f-b02b-893e6ba035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_Flow_SignoffStatu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3071f4-7f44-43fd-895c-8e7b6a3746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_Flow_SignoffStatus" ma:index="21" nillable="true" ma:displayName="Sign-off status" ma:internalName="Sign_x002d_off_x0020_status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a407c16c-d400-4155-af4b-d0582c07d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97cfe-a968-427f-b02b-893e6ba0355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7b8b45f8-435e-402c-b129-c8853cba6318}" ma:internalName="TaxCatchAll" ma:showField="CatchAllData" ma:web="ead97cfe-a968-427f-b02b-893e6ba0355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39F3FD5-8BE4-4C63-8E08-C5A7A17FEE7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0A84615-6D8B-4A8F-B9A5-3805127A3ACB}">
  <ds:schemaRefs>
    <ds:schemaRef ds:uri="c53071f4-7f44-43fd-895c-8e7b6a3746b0"/>
    <ds:schemaRef ds:uri="ead97cfe-a968-427f-b02b-893e6ba0355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C070EDE-625B-48A2-97EA-57E655003D7E}">
  <ds:schemaRefs>
    <ds:schemaRef ds:uri="c53071f4-7f44-43fd-895c-8e7b6a3746b0"/>
    <ds:schemaRef ds:uri="ead97cfe-a968-427f-b02b-893e6ba0355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24</TotalTime>
  <Words>863</Words>
  <Application>Microsoft Office PowerPoint</Application>
  <PresentationFormat>Widescreen</PresentationFormat>
  <Paragraphs>122</Paragraphs>
  <Slides>2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8" baseType="lpstr">
      <vt:lpstr>Arial</vt:lpstr>
      <vt:lpstr>Calibri</vt:lpstr>
      <vt:lpstr>Office Theme</vt:lpstr>
      <vt:lpstr>Custom Design</vt:lpstr>
      <vt:lpstr>1_Custom Design</vt:lpstr>
      <vt:lpstr>3_Custom Design</vt:lpstr>
      <vt:lpstr>think-cell Slide</vt:lpstr>
      <vt:lpstr>Physical and chemical changes: Making and melting butter</vt:lpstr>
      <vt:lpstr>Starter</vt:lpstr>
      <vt:lpstr>There are physical and chemical reactions</vt:lpstr>
      <vt:lpstr>There are physical and chemical reactions</vt:lpstr>
      <vt:lpstr>There are physical and chemical reactions</vt:lpstr>
      <vt:lpstr>Butter: Melting and Making</vt:lpstr>
      <vt:lpstr>Butter: Melting demonstration</vt:lpstr>
      <vt:lpstr>Butter: Melting and Making</vt:lpstr>
      <vt:lpstr>Practical: Making butter</vt:lpstr>
      <vt:lpstr>Practical</vt:lpstr>
      <vt:lpstr>Practical: Making butter</vt:lpstr>
      <vt:lpstr>Physical and chemical changes</vt:lpstr>
      <vt:lpstr>Tweet about it</vt:lpstr>
      <vt:lpstr>Key words</vt:lpstr>
      <vt:lpstr>Teachers’ guide</vt:lpstr>
      <vt:lpstr>Teaching about butter</vt:lpstr>
      <vt:lpstr>What happens as butter is formed?</vt:lpstr>
      <vt:lpstr>Emulsions in butter and milk</vt:lpstr>
      <vt:lpstr>The science of making butter</vt:lpstr>
      <vt:lpstr>The science of making butter</vt:lpstr>
      <vt:lpstr>Physical and chemical changes: Making and melting butt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 social!</dc:title>
  <dc:creator>Glenn Carter</dc:creator>
  <cp:lastModifiedBy>Frances Meek</cp:lastModifiedBy>
  <cp:revision>194</cp:revision>
  <dcterms:created xsi:type="dcterms:W3CDTF">2018-10-10T09:22:08Z</dcterms:created>
  <dcterms:modified xsi:type="dcterms:W3CDTF">2022-09-25T19:5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5B78CA333243439763E4169A5FEB7F</vt:lpwstr>
  </property>
  <property fmtid="{D5CDD505-2E9C-101B-9397-08002B2CF9AE}" pid="3" name="Order">
    <vt:r8>551200</vt:r8>
  </property>
  <property fmtid="{D5CDD505-2E9C-101B-9397-08002B2CF9AE}" pid="4" name="_ExtendedDescription">
    <vt:lpwstr/>
  </property>
  <property fmtid="{D5CDD505-2E9C-101B-9397-08002B2CF9AE}" pid="5" name="ComplianceAssetId">
    <vt:lpwstr/>
  </property>
  <property fmtid="{D5CDD505-2E9C-101B-9397-08002B2CF9AE}" pid="6" name="TriggerFlowInfo">
    <vt:lpwstr/>
  </property>
  <property fmtid="{D5CDD505-2E9C-101B-9397-08002B2CF9AE}" pid="7" name="MediaServiceImageTags">
    <vt:lpwstr/>
  </property>
</Properties>
</file>